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vml" ContentType="application/vnd.openxmlformats-officedocument.vmlDrawing"/>
  <Override PartName="/ppt/slideLayouts/slideLayout10.xml" ContentType="application/vnd.openxmlformats-officedocument.presentationml.slideLayout+xml"/>
  <Default Extension="gif" ContentType="image/gif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charts/style3.xml" ContentType="application/vnd.ms-office.chartstyl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1"/>
    <p:sldMasterId id="2147483835" r:id="rId2"/>
  </p:sldMasterIdLst>
  <p:notesMasterIdLst>
    <p:notesMasterId r:id="rId15"/>
  </p:notesMasterIdLst>
  <p:handoutMasterIdLst>
    <p:handoutMasterId r:id="rId16"/>
  </p:handoutMasterIdLst>
  <p:sldIdLst>
    <p:sldId id="609" r:id="rId3"/>
    <p:sldId id="611" r:id="rId4"/>
    <p:sldId id="613" r:id="rId5"/>
    <p:sldId id="614" r:id="rId6"/>
    <p:sldId id="588" r:id="rId7"/>
    <p:sldId id="615" r:id="rId8"/>
    <p:sldId id="618" r:id="rId9"/>
    <p:sldId id="593" r:id="rId10"/>
    <p:sldId id="599" r:id="rId11"/>
    <p:sldId id="619" r:id="rId12"/>
    <p:sldId id="616" r:id="rId13"/>
    <p:sldId id="617" r:id="rId14"/>
  </p:sldIdLst>
  <p:sldSz cx="9144000" cy="6858000" type="screen4x3"/>
  <p:notesSz cx="6805613" cy="9939338"/>
  <p:custDataLst>
    <p:tags r:id="rId17"/>
  </p:custDataLst>
  <p:defaultTextStyle>
    <a:defPPr>
      <a:defRPr lang="en-S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5">
          <p15:clr>
            <a:srgbClr val="A4A3A4"/>
          </p15:clr>
        </p15:guide>
        <p15:guide id="2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696B"/>
    <a:srgbClr val="4F545A"/>
    <a:srgbClr val="009CC2"/>
    <a:srgbClr val="63BE7B"/>
    <a:srgbClr val="9C0006"/>
    <a:srgbClr val="80C68A"/>
    <a:srgbClr val="4F5460"/>
    <a:srgbClr val="58585A"/>
    <a:srgbClr val="00497F"/>
    <a:srgbClr val="F2F2F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3190" autoAdjust="0"/>
  </p:normalViewPr>
  <p:slideViewPr>
    <p:cSldViewPr>
      <p:cViewPr varScale="1">
        <p:scale>
          <a:sx n="64" d="100"/>
          <a:sy n="64" d="100"/>
        </p:scale>
        <p:origin x="-1494" y="-102"/>
      </p:cViewPr>
      <p:guideLst>
        <p:guide orient="horz" pos="2115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2808" y="-96"/>
      </p:cViewPr>
      <p:guideLst>
        <p:guide orient="horz" pos="3130"/>
        <p:guide pos="214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arie.psyk\AppData\Local\Microsoft\Windows\Temporary%20Internet%20Files\Content.IE5\808P8XRJ\d14198e393de46b593eceedea58be928%5b1%5d.xls" TargetMode="Externa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marie.psyk\Documents\0%20-%20Countries\2017%20Budget%20Business%20Stakes%20-%20Materials,%20Bundle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C:\Users\marie.psyk\Documents\0%20-%20Countries\2017%20Budget%20Business%20Stakes%20-%20Materials,%20Bundl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0" i="0" u="none" strike="noStrike" kern="1200" spc="0" baseline="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defRPr>
            </a:pPr>
            <a:r>
              <a:rPr lang="ru-RU" sz="1800" kern="12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Arial"/>
              </a:rPr>
              <a:t>Общие продажи в тысячах штук</a:t>
            </a:r>
            <a:endParaRPr lang="en-US" sz="1800" kern="120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+mn-ea"/>
              <a:cs typeface="Arial"/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'[d14198e393de46b593eceedea58be928(1).xls]Sheet1'!$B$1</c:f>
              <c:strCache>
                <c:ptCount val="1"/>
                <c:pt idx="0">
                  <c:v>2015 YTD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cat>
            <c:strRef>
              <c:f>'[d14198e393de46b593eceedea58be928(1).xls]Sheet1'!$A$2:$A$8</c:f>
              <c:strCache>
                <c:ptCount val="7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</c:strCache>
            </c:strRef>
          </c:cat>
          <c:val>
            <c:numRef>
              <c:f>'[d14198e393de46b593eceedea58be928(1).xls]Sheet1'!$B$2:$B$8</c:f>
              <c:numCache>
                <c:formatCode>#,##0</c:formatCode>
                <c:ptCount val="7"/>
                <c:pt idx="0">
                  <c:v>643.03699999999992</c:v>
                </c:pt>
                <c:pt idx="1">
                  <c:v>1391.0809999999999</c:v>
                </c:pt>
                <c:pt idx="2">
                  <c:v>2154.5909999999999</c:v>
                </c:pt>
                <c:pt idx="3">
                  <c:v>2681.3740000000007</c:v>
                </c:pt>
                <c:pt idx="4">
                  <c:v>3412.8100000000004</c:v>
                </c:pt>
                <c:pt idx="5">
                  <c:v>4478.723</c:v>
                </c:pt>
                <c:pt idx="6">
                  <c:v>4967.1150000000007</c:v>
                </c:pt>
              </c:numCache>
            </c:numRef>
          </c:val>
        </c:ser>
        <c:ser>
          <c:idx val="1"/>
          <c:order val="1"/>
          <c:tx>
            <c:strRef>
              <c:f>'[d14198e393de46b593eceedea58be928(1).xls]Sheet1'!$C$1</c:f>
              <c:strCache>
                <c:ptCount val="1"/>
                <c:pt idx="0">
                  <c:v>2016 YTD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'[d14198e393de46b593eceedea58be928(1).xls]Sheet1'!$A$2:$A$8</c:f>
              <c:strCache>
                <c:ptCount val="7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</c:strCache>
            </c:strRef>
          </c:cat>
          <c:val>
            <c:numRef>
              <c:f>'[d14198e393de46b593eceedea58be928(1).xls]Sheet1'!$C$2:$C$8</c:f>
              <c:numCache>
                <c:formatCode>#,##0</c:formatCode>
                <c:ptCount val="7"/>
                <c:pt idx="0">
                  <c:v>1068.046</c:v>
                </c:pt>
                <c:pt idx="1">
                  <c:v>2398.6469999999995</c:v>
                </c:pt>
                <c:pt idx="2">
                  <c:v>3922.5650000000001</c:v>
                </c:pt>
                <c:pt idx="3">
                  <c:v>5139.5940000000001</c:v>
                </c:pt>
                <c:pt idx="4">
                  <c:v>6406.1270000000004</c:v>
                </c:pt>
                <c:pt idx="5">
                  <c:v>8264.2109999999975</c:v>
                </c:pt>
                <c:pt idx="6">
                  <c:v>9097.7280000000028</c:v>
                </c:pt>
              </c:numCache>
            </c:numRef>
          </c:val>
        </c:ser>
        <c:dLbls/>
        <c:gapWidth val="219"/>
        <c:overlap val="-27"/>
        <c:axId val="78850688"/>
        <c:axId val="81723776"/>
      </c:barChart>
      <c:catAx>
        <c:axId val="7885068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1723776"/>
        <c:crosses val="autoZero"/>
        <c:auto val="1"/>
        <c:lblAlgn val="ctr"/>
        <c:lblOffset val="100"/>
      </c:catAx>
      <c:valAx>
        <c:axId val="8172377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78850688"/>
        <c:crosses val="autoZero"/>
        <c:crossBetween val="between"/>
        <c:majorUnit val="2000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explosion val="47"/>
          <c:dPt>
            <c:idx val="0"/>
            <c:spPr>
              <a:solidFill>
                <a:srgbClr val="0070C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CatName val="1"/>
            <c:showPercent val="1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Sheet3!$E$5:$F$5</c:f>
              <c:strCache>
                <c:ptCount val="2"/>
                <c:pt idx="0">
                  <c:v>AR</c:v>
                </c:pt>
                <c:pt idx="1">
                  <c:v>Mat</c:v>
                </c:pt>
              </c:strCache>
            </c:strRef>
          </c:cat>
          <c:val>
            <c:numRef>
              <c:f>Sheet3!$E$6:$F$6</c:f>
              <c:numCache>
                <c:formatCode>#,##0</c:formatCode>
                <c:ptCount val="2"/>
                <c:pt idx="0">
                  <c:v>3648.9830000000002</c:v>
                </c:pt>
                <c:pt idx="1">
                  <c:v>527.32799999999986</c:v>
                </c:pt>
              </c:numCache>
            </c:numRef>
          </c:val>
        </c:ser>
        <c:dLbls/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3732699037620321"/>
          <c:y val="0.89590915718868491"/>
          <c:w val="0.23645713035870519"/>
          <c:h val="9.9461213181685632E-2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spPr>
            <a:solidFill>
              <a:schemeClr val="accent6"/>
            </a:solidFill>
          </c:spPr>
          <c:explosion val="26"/>
          <c:dPt>
            <c:idx val="0"/>
            <c:spPr>
              <a:solidFill>
                <a:srgbClr val="0070C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explosion val="16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/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CatName val="1"/>
              <c:showPercent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1"/>
              <c:layout/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CatName val="1"/>
              <c:showPercent val="1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extLst>
              <c:ext xmlns:c15="http://schemas.microsoft.com/office/drawing/2012/chart" uri="{CE6537A1-D6FC-4f65-9D91-7224C49458BB}"/>
            </c:extLst>
          </c:dLbls>
          <c:cat>
            <c:strRef>
              <c:f>Sheet3!$E$5:$F$5</c:f>
              <c:strCache>
                <c:ptCount val="2"/>
                <c:pt idx="0">
                  <c:v>AR</c:v>
                </c:pt>
                <c:pt idx="1">
                  <c:v>Mat</c:v>
                </c:pt>
              </c:strCache>
            </c:strRef>
          </c:cat>
          <c:val>
            <c:numRef>
              <c:f>Sheet3!$E$6:$F$6</c:f>
              <c:numCache>
                <c:formatCode>#,##0</c:formatCode>
                <c:ptCount val="2"/>
                <c:pt idx="0">
                  <c:v>55</c:v>
                </c:pt>
                <c:pt idx="1">
                  <c:v>45</c:v>
                </c:pt>
              </c:numCache>
            </c:numRef>
          </c:val>
        </c:ser>
        <c:dLbls/>
      </c:pie3DChart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457</cdr:x>
      <cdr:y>0.03445</cdr:y>
    </cdr:from>
    <cdr:to>
      <cdr:x>1</cdr:x>
      <cdr:y>0.1550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6260284" y="144016"/>
          <a:ext cx="1152128" cy="504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3200" b="1" dirty="0" smtClean="0">
              <a:solidFill>
                <a:srgbClr val="FFC000"/>
              </a:solidFill>
            </a:rPr>
            <a:t>+83%</a:t>
          </a:r>
          <a:endParaRPr lang="en-US" sz="3200" b="1" dirty="0">
            <a:solidFill>
              <a:srgbClr val="FFC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B816B7D-6B43-4D7F-8475-A73CB5043056}" type="datetimeFigureOut">
              <a:rPr lang="en-SG"/>
              <a:pPr>
                <a:defRPr/>
              </a:pPr>
              <a:t>18/7/2017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S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5E2652B-FAB2-4173-86EA-F45196BAD9E9}" type="slidenum">
              <a:rPr lang="en-SG"/>
              <a:pPr>
                <a:defRPr/>
              </a:pPr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xmlns="" val="3152111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4FADD26-FE9D-4BB5-A401-DE5902529DC8}" type="datetimeFigureOut">
              <a:rPr lang="en-SG"/>
              <a:pPr>
                <a:defRPr/>
              </a:pPr>
              <a:t>18/7/2017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SG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SG" smtClean="0"/>
              <a:t>Click to edit Master text styles</a:t>
            </a:r>
          </a:p>
          <a:p>
            <a:pPr lvl="1"/>
            <a:r>
              <a:rPr lang="en-SG" smtClean="0"/>
              <a:t>Second level</a:t>
            </a:r>
          </a:p>
          <a:p>
            <a:pPr lvl="2"/>
            <a:r>
              <a:rPr lang="en-SG" smtClean="0"/>
              <a:t>Third level</a:t>
            </a:r>
          </a:p>
          <a:p>
            <a:pPr lvl="3"/>
            <a:r>
              <a:rPr lang="en-SG" smtClean="0"/>
              <a:t>Fourth level</a:t>
            </a:r>
          </a:p>
          <a:p>
            <a:pPr lvl="4"/>
            <a:r>
              <a:rPr lang="en-SG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2AA1CFFE-883B-463A-B5A5-5E72507F14CD}" type="slidenum">
              <a:rPr lang="en-SG"/>
              <a:pPr>
                <a:defRPr/>
              </a:pPr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xmlns="" val="328620318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77FB73-D235-4244-AE76-52F3AEB3154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3652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RUSSIA is growing at +27% YTD with 54k </a:t>
            </a:r>
            <a:r>
              <a:rPr lang="en-US" sz="1200" dirty="0" err="1" smtClean="0"/>
              <a:t>pcs</a:t>
            </a:r>
            <a:endParaRPr lang="en-US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77FB73-D235-4244-AE76-52F3AEB3154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892855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A1CFFE-883B-463A-B5A5-5E72507F14CD}" type="slidenum">
              <a:rPr lang="en-SG" smtClean="0"/>
              <a:pPr>
                <a:defRPr/>
              </a:pPr>
              <a:t>4</a:t>
            </a:fld>
            <a:endParaRPr lang="en-SG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A1CFFE-883B-463A-B5A5-5E72507F14CD}" type="slidenum">
              <a:rPr lang="en-SG" smtClean="0"/>
              <a:pPr>
                <a:defRPr/>
              </a:pPr>
              <a:t>6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xmlns="" val="36798855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fo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8" t="47427" r="-98" b="19476"/>
          <a:stretch/>
        </p:blipFill>
        <p:spPr>
          <a:xfrm>
            <a:off x="2389" y="1703294"/>
            <a:ext cx="9141611" cy="4616823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-1" y="4918364"/>
            <a:ext cx="9144001" cy="139358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0" y="6311945"/>
            <a:ext cx="9144000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 userDrawn="1"/>
        </p:nvCxnSpPr>
        <p:spPr>
          <a:xfrm>
            <a:off x="0" y="1707769"/>
            <a:ext cx="9144000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ESSI G GREY ENG.png" descr="/Volumes/Commun/CLIENTS/ESSILOR/ESSI 051_Logotype Groupe/LOGOTHEQUE/LOGOTHEQUE ESSILOR GROUP/ESSILOR GROUP GREY/GREY BASELINE/ENGLISH/ESSI G GREY E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0983" y="322752"/>
            <a:ext cx="2462034" cy="1072622"/>
          </a:xfrm>
          <a:prstGeom prst="rect">
            <a:avLst/>
          </a:prstGeom>
        </p:spPr>
      </p:pic>
      <p:sp>
        <p:nvSpPr>
          <p:cNvPr id="13" name="Titre 1"/>
          <p:cNvSpPr>
            <a:spLocks noGrp="1"/>
          </p:cNvSpPr>
          <p:nvPr>
            <p:ph type="ctrTitle" hasCustomPrompt="1"/>
          </p:nvPr>
        </p:nvSpPr>
        <p:spPr>
          <a:xfrm>
            <a:off x="1067586" y="5106903"/>
            <a:ext cx="6858000" cy="649896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fr-FR" dirty="0"/>
          </a:p>
        </p:txBody>
      </p:sp>
      <p:sp>
        <p:nvSpPr>
          <p:cNvPr id="14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067586" y="5728498"/>
            <a:ext cx="6858000" cy="40435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708906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The Conversation Generic-03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50239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72790" y="286518"/>
            <a:ext cx="4759158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i="1" dirty="0" smtClean="0">
                <a:solidFill>
                  <a:srgbClr val="FFFFFF"/>
                </a:solidFill>
                <a:latin typeface="Eurostile"/>
                <a:cs typeface="Eurostile"/>
              </a:rPr>
              <a:t>Active in Sales</a:t>
            </a:r>
            <a:endParaRPr lang="en-US" sz="32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68040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V How to Implement Intro-02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33851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2790" y="3585202"/>
            <a:ext cx="4759158" cy="1005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i="1" dirty="0" smtClean="0">
                <a:solidFill>
                  <a:srgbClr val="FFFFFF"/>
                </a:solidFill>
                <a:latin typeface="Eurostile"/>
                <a:cs typeface="Eurostile"/>
              </a:rPr>
              <a:t>How to Implement</a:t>
            </a:r>
          </a:p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i="1" dirty="0" smtClean="0">
                <a:solidFill>
                  <a:srgbClr val="FFFFFF"/>
                </a:solidFill>
                <a:latin typeface="Eurostile"/>
                <a:cs typeface="Eurostile"/>
              </a:rPr>
              <a:t>In the Business</a:t>
            </a:r>
            <a:endParaRPr lang="en-US" sz="40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5910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How to Implement Generic-03-03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50239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2790" y="286518"/>
            <a:ext cx="4759158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i="1" dirty="0" smtClean="0">
                <a:solidFill>
                  <a:srgbClr val="FFFFFF"/>
                </a:solidFill>
                <a:latin typeface="Eurostile"/>
                <a:cs typeface="Eurostile"/>
              </a:rPr>
              <a:t>Sub Header</a:t>
            </a:r>
            <a:endParaRPr lang="en-US" sz="32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37229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V Technology Intro-06-06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1463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2790" y="3591942"/>
            <a:ext cx="4558049" cy="1005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i="1" dirty="0" smtClean="0">
                <a:solidFill>
                  <a:srgbClr val="FFFFFF"/>
                </a:solidFill>
                <a:latin typeface="Eurostile"/>
                <a:cs typeface="Eurostile"/>
              </a:rPr>
              <a:t>Facts about the technology</a:t>
            </a:r>
            <a:endParaRPr lang="en-US" sz="40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4026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Technology Generic-03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50239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472790" y="286518"/>
            <a:ext cx="5483920" cy="4103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i="1" dirty="0" smtClean="0">
                <a:solidFill>
                  <a:srgbClr val="FFFFFF"/>
                </a:solidFill>
                <a:latin typeface="Eurostile"/>
                <a:cs typeface="Eurostile"/>
              </a:rPr>
              <a:t>Facts about the technology</a:t>
            </a:r>
            <a:endParaRPr lang="en-US" sz="32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96893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37941" y="779891"/>
            <a:ext cx="660400" cy="6604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3037291" y="495588"/>
            <a:ext cx="5760000" cy="15211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1052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69532" y="760936"/>
            <a:ext cx="660400" cy="6604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3037291" y="495588"/>
            <a:ext cx="5760000" cy="152112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3197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itre 1"/>
          <p:cNvSpPr>
            <a:spLocks noGrp="1"/>
          </p:cNvSpPr>
          <p:nvPr>
            <p:ph type="title"/>
          </p:nvPr>
        </p:nvSpPr>
        <p:spPr>
          <a:xfrm>
            <a:off x="251520" y="65832"/>
            <a:ext cx="8640960" cy="864096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>
            <a:lvl1pPr algn="l">
              <a:defRPr lang="fr-FR" sz="2000" b="1" dirty="0">
                <a:solidFill>
                  <a:srgbClr val="009CC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fr-FR" dirty="0"/>
          </a:p>
        </p:txBody>
      </p:sp>
      <p:cxnSp>
        <p:nvCxnSpPr>
          <p:cNvPr id="5" name="Connecteur droit 8"/>
          <p:cNvCxnSpPr/>
          <p:nvPr/>
        </p:nvCxnSpPr>
        <p:spPr>
          <a:xfrm rot="10800000">
            <a:off x="323527" y="6409035"/>
            <a:ext cx="8640961" cy="0"/>
          </a:xfrm>
          <a:prstGeom prst="line">
            <a:avLst/>
          </a:prstGeom>
          <a:ln w="19050">
            <a:gradFill>
              <a:gsLst>
                <a:gs pos="0">
                  <a:srgbClr val="58585A"/>
                </a:gs>
                <a:gs pos="100000">
                  <a:schemeClr val="bg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8474400" y="6469200"/>
            <a:ext cx="442800" cy="363600"/>
          </a:xfrm>
          <a:prstGeom prst="rect">
            <a:avLst/>
          </a:prstGeom>
        </p:spPr>
        <p:txBody>
          <a:bodyPr lIns="0" tIns="36000" rIns="0" bIns="36000" anchor="ctr">
            <a:noAutofit/>
          </a:bodyPr>
          <a:lstStyle>
            <a:lvl1pPr algn="r">
              <a:defRPr sz="1200" b="1">
                <a:solidFill>
                  <a:srgbClr val="009CC2"/>
                </a:solidFill>
              </a:defRPr>
            </a:lvl1pPr>
          </a:lstStyle>
          <a:p>
            <a:pPr>
              <a:defRPr/>
            </a:pPr>
            <a:fld id="{5FB8C263-D827-46B6-9884-022610690F2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2411760" y="6470650"/>
            <a:ext cx="6063903" cy="365125"/>
          </a:xfrm>
          <a:prstGeom prst="rect">
            <a:avLst/>
          </a:prstGeom>
        </p:spPr>
        <p:txBody>
          <a:bodyPr lIns="0" tIns="36000" rIns="0" bIns="36000" anchor="ctr"/>
          <a:lstStyle>
            <a:lvl1pPr algn="ct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ONFIDENTIAL © ESSILOR 2016 – All rights reserved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3806799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841375"/>
            <a:ext cx="75596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C:\Users\rimeleng\Downloads\Logo Essilor Group Baseline\Logo Essilor Group Baseline\ESSILOR GROUP GREY\FRENCH\ESSI G GREY FR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42125" y="6273800"/>
            <a:ext cx="1836738" cy="5667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53234" y="4087"/>
            <a:ext cx="8050766" cy="12562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>
                <a:solidFill>
                  <a:schemeClr val="bg2">
                    <a:lumMod val="50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53234" y="1588958"/>
            <a:ext cx="8050766" cy="44670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>
              <a:buClr>
                <a:schemeClr val="bg2">
                  <a:lumMod val="50000"/>
                </a:schemeClr>
              </a:buCl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2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566738" y="6357938"/>
            <a:ext cx="1471612" cy="500062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162BFFBE-B25A-48A1-8F08-DAF0C5CBE81B}" type="slidenum">
              <a:rPr lang="fr-FR" altLang="en-US"/>
              <a:pPr/>
              <a:t>‹#›</a:t>
            </a:fld>
            <a:endParaRPr lang="fr-FR" altLang="en-US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143125" y="6356350"/>
            <a:ext cx="4483100" cy="501650"/>
          </a:xfrm>
          <a:prstGeom prst="rect">
            <a:avLst/>
          </a:prstGeom>
        </p:spPr>
        <p:txBody>
          <a:bodyPr/>
          <a:lstStyle>
            <a:lvl1pPr algn="ctr" fontAlgn="base">
              <a:spcBef>
                <a:spcPct val="0"/>
              </a:spcBef>
              <a:spcAft>
                <a:spcPct val="0"/>
              </a:spcAft>
              <a:defRPr sz="900">
                <a:solidFill>
                  <a:srgbClr val="898989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mtClean="0"/>
              <a:t>CONFIDENTIAL © ESSILOR 2016 – All rights reserv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19668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cou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593" b="2911"/>
          <a:stretch/>
        </p:blipFill>
        <p:spPr>
          <a:xfrm>
            <a:off x="0" y="1698171"/>
            <a:ext cx="9144000" cy="45999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" y="4918364"/>
            <a:ext cx="9144000" cy="139358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0" y="6311945"/>
            <a:ext cx="9144000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 userDrawn="1"/>
        </p:nvCxnSpPr>
        <p:spPr>
          <a:xfrm>
            <a:off x="0" y="1700049"/>
            <a:ext cx="9144000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ESSI G GREY ENG.png" descr="/Volumes/Commun/CLIENTS/ESSILOR/ESSI 051_Logotype Groupe/LOGOTHEQUE/LOGOTHEQUE ESSILOR GROUP/ESSILOR GROUP GREY/GREY BASELINE/ENGLISH/ESSI G GREY E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0983" y="322752"/>
            <a:ext cx="2462034" cy="107262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67586" y="5106903"/>
            <a:ext cx="6858000" cy="649896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067586" y="5728498"/>
            <a:ext cx="6858000" cy="40435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21844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R&amp;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2380" b="44082"/>
          <a:stretch/>
        </p:blipFill>
        <p:spPr>
          <a:xfrm>
            <a:off x="-2" y="1707502"/>
            <a:ext cx="9144001" cy="45999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-1" y="4918364"/>
            <a:ext cx="9144001" cy="139358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-1" y="6316708"/>
            <a:ext cx="9144001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 userDrawn="1"/>
        </p:nvCxnSpPr>
        <p:spPr>
          <a:xfrm>
            <a:off x="0" y="1700049"/>
            <a:ext cx="9144000" cy="0"/>
          </a:xfrm>
          <a:prstGeom prst="line">
            <a:avLst/>
          </a:prstGeom>
          <a:ln w="19050" cmpd="sng">
            <a:solidFill>
              <a:srgbClr val="70717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ESSI G GREY ENG.png" descr="/Volumes/Commun/CLIENTS/ESSILOR/ESSI 051_Logotype Groupe/LOGOTHEQUE/LOGOTHEQUE ESSILOR GROUP/ESSILOR GROUP GREY/GREY BASELINE/ENGLISH/ESSI G GREY EN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40983" y="322752"/>
            <a:ext cx="2462034" cy="107262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67586" y="5106903"/>
            <a:ext cx="6858000" cy="649896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fr-FR" dirty="0" smtClean="0"/>
              <a:t>MODIFIEZ LE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067586" y="5728498"/>
            <a:ext cx="6858000" cy="404354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707173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Modifiez le sous-titres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2666374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LUV Element-2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96" y="0"/>
            <a:ext cx="9137904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8100392" y="1052736"/>
            <a:ext cx="636104" cy="2226366"/>
          </a:xfrm>
          <a:prstGeom prst="rect">
            <a:avLst/>
          </a:prstGeom>
          <a:solidFill>
            <a:srgbClr val="E8F3F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5691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Consumer Insight Intro-07-07-07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9952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Consumer Insight Generic-03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50239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6122504" y="6056243"/>
            <a:ext cx="2902226" cy="6635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0676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UV The Solution-05-0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1463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2789" y="3585202"/>
            <a:ext cx="6155792" cy="10054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i="1" dirty="0" smtClean="0">
                <a:solidFill>
                  <a:srgbClr val="FFFFFF"/>
                </a:solidFill>
                <a:latin typeface="Eurostile"/>
                <a:cs typeface="Eurostile"/>
              </a:rPr>
              <a:t>The new everyday lenses for everyone</a:t>
            </a:r>
            <a:endParaRPr lang="en-US" sz="40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3208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LUV The Solution Generic-03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50239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2789" y="286263"/>
            <a:ext cx="5545873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i="1" dirty="0" smtClean="0">
                <a:solidFill>
                  <a:srgbClr val="FFFFFF"/>
                </a:solidFill>
                <a:latin typeface="Eurostile"/>
                <a:cs typeface="Eurostile"/>
              </a:rPr>
              <a:t>A solution for your customer</a:t>
            </a:r>
            <a:endParaRPr lang="en-US" sz="32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26033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LUV The Conversation-04-0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1463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472790" y="4021578"/>
            <a:ext cx="4759158" cy="5642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400" i="1" dirty="0" smtClean="0">
                <a:solidFill>
                  <a:srgbClr val="FFFFFF"/>
                </a:solidFill>
                <a:latin typeface="Eurostile"/>
                <a:cs typeface="Eurostile"/>
              </a:rPr>
              <a:t>The Conversation</a:t>
            </a:r>
            <a:endParaRPr lang="en-US" sz="44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42792" y="6381258"/>
            <a:ext cx="4808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fld id="{FED8EF73-AC00-614E-A7CC-4F27C9311434}" type="slidenum">
              <a:rPr lang="en-US" sz="1600" i="1" smtClean="0">
                <a:solidFill>
                  <a:srgbClr val="0082CA"/>
                </a:solidFill>
                <a:latin typeface="Arial" charset="0"/>
                <a:ea typeface="Arial" charset="0"/>
                <a:cs typeface="Arial" charset="0"/>
              </a:rPr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i="1" dirty="0">
              <a:solidFill>
                <a:srgbClr val="0082C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4528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inv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06528" name="think-cell Slide" r:id="rId6" imgW="270" imgH="270" progId="">
              <p:embed/>
            </p:oleObj>
          </a:graphicData>
        </a:graphic>
      </p:graphicFrame>
      <p:sp>
        <p:nvSpPr>
          <p:cNvPr id="1026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484313"/>
            <a:ext cx="8229600" cy="464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Modifiez</a:t>
            </a:r>
            <a:r>
              <a:rPr lang="en-US" dirty="0" smtClean="0"/>
              <a:t>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68288" y="6507163"/>
            <a:ext cx="415925" cy="246062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>
                <a:solidFill>
                  <a:schemeClr val="accent1"/>
                </a:solidFill>
                <a:latin typeface="Arial" charset="0"/>
              </a:defRPr>
            </a:lvl1pPr>
          </a:lstStyle>
          <a:p>
            <a:pPr>
              <a:defRPr/>
            </a:pPr>
            <a:fld id="{064AC126-E099-4EA9-B947-A551D84E5A37}" type="slidenum">
              <a:rPr lang="en-SG" smtClean="0"/>
              <a:pPr>
                <a:defRPr/>
              </a:pPr>
              <a:t>‹#›</a:t>
            </a:fld>
            <a:endParaRPr lang="en-SG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2195736" y="6453336"/>
            <a:ext cx="48965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 fontAlgn="base">
              <a:spcBef>
                <a:spcPts val="0"/>
              </a:spcBef>
              <a:spcAft>
                <a:spcPts val="0"/>
              </a:spcAft>
            </a:pPr>
            <a:r>
              <a:rPr lang="en-US" sz="1100" b="0" i="0" dirty="0" smtClean="0">
                <a:solidFill>
                  <a:srgbClr val="898989"/>
                </a:solidFill>
                <a:latin typeface="Calibri"/>
              </a:rPr>
              <a:t>CONFIDENTIAL © ESSILOR / AMERA</a:t>
            </a:r>
            <a:r>
              <a:rPr lang="en-US" sz="1100" b="0" i="0" baseline="0" dirty="0" smtClean="0">
                <a:solidFill>
                  <a:srgbClr val="898989"/>
                </a:solidFill>
                <a:latin typeface="Calibri"/>
              </a:rPr>
              <a:t> Marketing</a:t>
            </a:r>
            <a:r>
              <a:rPr lang="en-US" sz="1100" b="0" i="0" dirty="0" smtClean="0">
                <a:solidFill>
                  <a:srgbClr val="898989"/>
                </a:solidFill>
                <a:latin typeface="Calibri"/>
              </a:rPr>
              <a:t>– All rights reserved</a:t>
            </a:r>
            <a:endParaRPr lang="en-US" sz="1100" b="0" i="0" dirty="0" smtClean="0">
              <a:solidFill>
                <a:srgbClr val="222222"/>
              </a:solidFill>
              <a:latin typeface="arial"/>
            </a:endParaRPr>
          </a:p>
          <a:p>
            <a:pPr algn="ctr" rtl="0" fontAlgn="base">
              <a:spcBef>
                <a:spcPts val="0"/>
              </a:spcBef>
              <a:spcAft>
                <a:spcPts val="0"/>
              </a:spcAft>
            </a:pPr>
            <a:r>
              <a:rPr lang="en-US" sz="1100" b="0" i="0" dirty="0" smtClean="0">
                <a:solidFill>
                  <a:srgbClr val="898989"/>
                </a:solidFill>
                <a:latin typeface="Calibri"/>
              </a:rPr>
              <a:t>Do not disclose, copy or distribute</a:t>
            </a:r>
            <a:endParaRPr lang="en-US" sz="1100" b="0" i="0" dirty="0">
              <a:solidFill>
                <a:srgbClr val="222222"/>
              </a:solidFill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lang="en-US" sz="2600" kern="1200" dirty="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268288" indent="-268288" algn="l" rtl="0" eaLnBrk="1" fontAlgn="base" hangingPunct="1">
        <a:spcBef>
          <a:spcPct val="20000"/>
        </a:spcBef>
        <a:spcAft>
          <a:spcPct val="0"/>
        </a:spcAft>
        <a:buClr>
          <a:srgbClr val="009CC2"/>
        </a:buClr>
        <a:buFont typeface="Wingdings" pitchFamily="2" charset="2"/>
        <a:buChar char="ä"/>
        <a:defRPr lang="en-US" sz="2400" kern="1200">
          <a:solidFill>
            <a:schemeClr val="accent1"/>
          </a:solidFill>
          <a:latin typeface="Arial" pitchFamily="34" charset="0"/>
          <a:ea typeface="ヒラギノ角ゴ Pro W3" charset="-128"/>
          <a:cs typeface="ヒラギノ角ゴ Pro W3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lang="en-US" sz="2000" kern="1200">
          <a:solidFill>
            <a:srgbClr val="009CC2"/>
          </a:solidFill>
          <a:latin typeface="Arial" pitchFamily="34" charset="0"/>
          <a:ea typeface="ヒラギノ角ゴ Pro W3" charset="-128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ä"/>
        <a:defRPr lang="en-US" sz="1800" i="1" kern="1200">
          <a:solidFill>
            <a:schemeClr val="accent1"/>
          </a:solidFill>
          <a:latin typeface="Arial" pitchFamily="34" charset="0"/>
          <a:ea typeface="ヒラギノ角ゴ Pro W3" charset="-128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lang="en-US" sz="2000" kern="1200">
          <a:solidFill>
            <a:schemeClr val="tx1"/>
          </a:solidFill>
          <a:latin typeface="Arial" pitchFamily="34" charset="0"/>
          <a:ea typeface="ヒラギノ角ゴ Pro W3" charset="-128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lang="en-US" sz="2000" kern="1200">
          <a:solidFill>
            <a:schemeClr val="tx1"/>
          </a:solidFill>
          <a:latin typeface="Arial" pitchFamily="34" charset="0"/>
          <a:ea typeface="ヒラギノ角ゴ Pro W3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40328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em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1.jpeg"/><Relationship Id="rId11" Type="http://schemas.openxmlformats.org/officeDocument/2006/relationships/image" Target="../media/image46.png"/><Relationship Id="rId5" Type="http://schemas.openxmlformats.org/officeDocument/2006/relationships/image" Target="../media/image30.jpeg"/><Relationship Id="rId10" Type="http://schemas.openxmlformats.org/officeDocument/2006/relationships/image" Target="../media/image4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44.emf"/><Relationship Id="rId14" Type="http://schemas.openxmlformats.org/officeDocument/2006/relationships/image" Target="../media/image4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gif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0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18" Type="http://schemas.openxmlformats.org/officeDocument/2006/relationships/image" Target="../media/image4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tags" Target="../tags/tag5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1.jpeg"/><Relationship Id="rId1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19872" y="6021288"/>
            <a:ext cx="511256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2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cs typeface="Eurostile"/>
              </a:rPr>
              <a:t>LENCOR VISION</a:t>
            </a:r>
            <a:endParaRPr lang="en-US" sz="2400" b="0" i="1" spc="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  <a:cs typeface="Eurostile"/>
            </a:endParaRPr>
          </a:p>
          <a:p>
            <a:pPr algn="r"/>
            <a:r>
              <a:rPr lang="en-US" sz="2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cs typeface="Eurostile"/>
              </a:rPr>
              <a:t>(Aug </a:t>
            </a:r>
            <a:r>
              <a:rPr lang="ru-RU" sz="2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cs typeface="Eurostile"/>
              </a:rPr>
              <a:t>2017</a:t>
            </a:r>
            <a:r>
              <a:rPr lang="en-US" sz="24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cs typeface="Eurostile"/>
              </a:rPr>
              <a:t>)</a:t>
            </a:r>
            <a:endParaRPr lang="en-US" sz="2400" b="0" i="1" spc="0" dirty="0">
              <a:solidFill>
                <a:schemeClr val="tx1">
                  <a:lumMod val="50000"/>
                  <a:lumOff val="50000"/>
                </a:schemeClr>
              </a:solidFill>
              <a:latin typeface="Eurostile"/>
              <a:cs typeface="Eurostile"/>
            </a:endParaRPr>
          </a:p>
        </p:txBody>
      </p:sp>
      <p:sp>
        <p:nvSpPr>
          <p:cNvPr id="4" name="Footer Placeholder 4"/>
          <p:cNvSpPr txBox="1">
            <a:spLocks/>
          </p:cNvSpPr>
          <p:nvPr/>
        </p:nvSpPr>
        <p:spPr>
          <a:xfrm>
            <a:off x="1907704" y="6455742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NFIDENTIAL © ESSILOR 2016 – All rights reserved</a:t>
            </a:r>
            <a:r>
              <a:rPr kumimoji="0" lang="en-US" sz="900" b="0" i="0" u="none" strike="noStrike" kern="1200" cap="none" spc="0" normalizeH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-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051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11552" y="961677"/>
            <a:ext cx="1253308" cy="5231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Etelka Light" pitchFamily="50" charset="0"/>
              <a:cs typeface="Arial" panose="020B0604020202020204" pitchFamily="34" charset="0"/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90825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360" y="1774828"/>
            <a:ext cx="2518517" cy="1415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8125" y="4313598"/>
            <a:ext cx="2108986" cy="1858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" name="TextBox 34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err="1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Демо</a:t>
            </a: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 коробка </a:t>
            </a: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LENCOR </a:t>
            </a: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BLUV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36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  <p:pic>
        <p:nvPicPr>
          <p:cNvPr id="39" name="Picture 38" descr="BLUV Element-20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28890" y="1566240"/>
            <a:ext cx="1015156" cy="1934768"/>
          </a:xfrm>
          <a:prstGeom prst="rect">
            <a:avLst/>
          </a:prstGeom>
        </p:spPr>
      </p:pic>
      <p:pic>
        <p:nvPicPr>
          <p:cNvPr id="40" name="Picture 39" descr="BLUV Element-21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00392" y="1566240"/>
            <a:ext cx="1015156" cy="1934768"/>
          </a:xfrm>
          <a:prstGeom prst="rect">
            <a:avLst/>
          </a:prstGeom>
        </p:spPr>
      </p:pic>
      <p:sp>
        <p:nvSpPr>
          <p:cNvPr id="41" name="TextBox 5"/>
          <p:cNvSpPr txBox="1"/>
          <p:nvPr/>
        </p:nvSpPr>
        <p:spPr>
          <a:xfrm>
            <a:off x="4261076" y="2332071"/>
            <a:ext cx="890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УФ указка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42" name="TextBox 6"/>
          <p:cNvSpPr txBox="1"/>
          <p:nvPr/>
        </p:nvSpPr>
        <p:spPr>
          <a:xfrm>
            <a:off x="3923928" y="2581182"/>
            <a:ext cx="12272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иний свет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43" name="TextBox 7"/>
          <p:cNvSpPr txBox="1"/>
          <p:nvPr/>
        </p:nvSpPr>
        <p:spPr>
          <a:xfrm>
            <a:off x="3419872" y="2807350"/>
            <a:ext cx="1715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тандартная линзы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46" name="TextBox 10"/>
          <p:cNvSpPr txBox="1"/>
          <p:nvPr/>
        </p:nvSpPr>
        <p:spPr>
          <a:xfrm>
            <a:off x="6516216" y="2807350"/>
            <a:ext cx="17347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Линза </a:t>
            </a:r>
            <a:r>
              <a:rPr lang="en-US" sz="1100" dirty="0" smtClean="0">
                <a:latin typeface="Etelka Light" pitchFamily="50" charset="0"/>
                <a:cs typeface="Arial"/>
              </a:rPr>
              <a:t>LENCOR </a:t>
            </a:r>
            <a:r>
              <a:rPr lang="fr-FR" sz="1100" dirty="0" smtClean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fr-FR" sz="1100" dirty="0" smtClean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fr-FR" sz="1100" baseline="30000" dirty="0" smtClean="0">
                <a:latin typeface="Etelka Light" pitchFamily="50" charset="0"/>
                <a:cs typeface="Arial"/>
              </a:rPr>
              <a:t>™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901337" y="1484785"/>
            <a:ext cx="2070100" cy="1152384"/>
          </a:xfrm>
          <a:prstGeom prst="rect">
            <a:avLst/>
          </a:prstGeom>
        </p:spPr>
      </p:pic>
      <p:sp>
        <p:nvSpPr>
          <p:cNvPr id="48" name="TextBox 13"/>
          <p:cNvSpPr txBox="1"/>
          <p:nvPr/>
        </p:nvSpPr>
        <p:spPr>
          <a:xfrm>
            <a:off x="3046235" y="1484784"/>
            <a:ext cx="16850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Продемонстрируйте как вредный синий свет проходит через стандартную линзу</a:t>
            </a:r>
            <a:endParaRPr lang="en-US" sz="1200" dirty="0">
              <a:solidFill>
                <a:srgbClr val="404040"/>
              </a:solidFill>
              <a:latin typeface="Etelka Light" pitchFamily="50" charset="0"/>
              <a:cs typeface="Arial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940152" y="1484785"/>
            <a:ext cx="2070100" cy="1191448"/>
          </a:xfrm>
          <a:prstGeom prst="rect">
            <a:avLst/>
          </a:prstGeom>
        </p:spPr>
      </p:pic>
      <p:sp>
        <p:nvSpPr>
          <p:cNvPr id="50" name="TextBox 16"/>
          <p:cNvSpPr txBox="1"/>
          <p:nvPr/>
        </p:nvSpPr>
        <p:spPr>
          <a:xfrm>
            <a:off x="5940152" y="1412776"/>
            <a:ext cx="20401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Линзы </a:t>
            </a:r>
            <a:r>
              <a:rPr lang="en-US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LENCOR </a:t>
            </a:r>
            <a:r>
              <a:rPr lang="en-US" sz="1200" b="1" dirty="0" smtClean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en-US" sz="1200" b="1" dirty="0" smtClean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en-US" sz="1100" b="1" baseline="300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™</a:t>
            </a:r>
            <a:r>
              <a:rPr lang="en-US" sz="1100" b="1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значительно сокращают кол-во вредного синего света, тем самым защищают глаза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Etelka Light" pitchFamily="50" charset="0"/>
              <a:cs typeface="Arial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6660232" y="4368042"/>
            <a:ext cx="2438005" cy="1946810"/>
            <a:chOff x="5012964" y="3313981"/>
            <a:chExt cx="2627623" cy="2098226"/>
          </a:xfrm>
        </p:grpSpPr>
        <p:pic>
          <p:nvPicPr>
            <p:cNvPr id="62" name="Picture 61" descr="BLUV Element-23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538305" y="3313981"/>
              <a:ext cx="1102282" cy="2098226"/>
            </a:xfrm>
            <a:prstGeom prst="rect">
              <a:avLst/>
            </a:prstGeom>
          </p:spPr>
        </p:pic>
        <p:sp>
          <p:nvSpPr>
            <p:cNvPr id="66" name="TextBox 26"/>
            <p:cNvSpPr txBox="1"/>
            <p:nvPr/>
          </p:nvSpPr>
          <p:spPr>
            <a:xfrm>
              <a:off x="5012964" y="4920938"/>
              <a:ext cx="1708324" cy="281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ru-RU" sz="1100" dirty="0" err="1" smtClean="0">
                  <a:latin typeface="Etelka Light" pitchFamily="50" charset="0"/>
                  <a:cs typeface="Arial"/>
                </a:rPr>
                <a:t>Фотохромная</a:t>
              </a:r>
              <a:r>
                <a:rPr lang="ru-RU" sz="1100" dirty="0" smtClean="0">
                  <a:latin typeface="Etelka Light" pitchFamily="50" charset="0"/>
                  <a:cs typeface="Arial"/>
                </a:rPr>
                <a:t> линза</a:t>
              </a:r>
              <a:endParaRPr lang="en-US" sz="1100" dirty="0">
                <a:latin typeface="Etelka Light" pitchFamily="50" charset="0"/>
                <a:cs typeface="Arial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3635896" y="4365104"/>
            <a:ext cx="2391933" cy="1949748"/>
            <a:chOff x="1530147" y="3313981"/>
            <a:chExt cx="2577968" cy="2101393"/>
          </a:xfrm>
        </p:grpSpPr>
        <p:pic>
          <p:nvPicPr>
            <p:cNvPr id="57" name="Picture 56" descr="BLUV Element-22.pn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943270" y="3313981"/>
              <a:ext cx="1164845" cy="2101393"/>
            </a:xfrm>
            <a:prstGeom prst="rect">
              <a:avLst/>
            </a:prstGeom>
          </p:spPr>
        </p:pic>
        <p:sp>
          <p:nvSpPr>
            <p:cNvPr id="61" name="TextBox 25"/>
            <p:cNvSpPr txBox="1"/>
            <p:nvPr/>
          </p:nvSpPr>
          <p:spPr>
            <a:xfrm>
              <a:off x="1530147" y="4890561"/>
              <a:ext cx="1610562" cy="2819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ru-RU" sz="1100" dirty="0" err="1" smtClean="0">
                  <a:latin typeface="Etelka Light" pitchFamily="50" charset="0"/>
                  <a:cs typeface="Arial"/>
                </a:rPr>
                <a:t>Фотохромная</a:t>
              </a:r>
              <a:r>
                <a:rPr lang="ru-RU" sz="1100" dirty="0" smtClean="0">
                  <a:latin typeface="Etelka Light" pitchFamily="50" charset="0"/>
                  <a:cs typeface="Arial"/>
                </a:rPr>
                <a:t> линза</a:t>
              </a:r>
              <a:endParaRPr lang="en-US" sz="1100" dirty="0">
                <a:latin typeface="Etelka Light" pitchFamily="50" charset="0"/>
                <a:cs typeface="Arial"/>
              </a:endParaRPr>
            </a:p>
          </p:txBody>
        </p:sp>
      </p:grpSp>
      <p:pic>
        <p:nvPicPr>
          <p:cNvPr id="53" name="Picture 52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2966960" y="4055137"/>
            <a:ext cx="2046547" cy="1293440"/>
          </a:xfrm>
          <a:prstGeom prst="rect">
            <a:avLst/>
          </a:prstGeom>
        </p:spPr>
      </p:pic>
      <p:sp>
        <p:nvSpPr>
          <p:cNvPr id="54" name="TextBox 11"/>
          <p:cNvSpPr txBox="1"/>
          <p:nvPr/>
        </p:nvSpPr>
        <p:spPr>
          <a:xfrm>
            <a:off x="2904926" y="4149080"/>
            <a:ext cx="21711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Продемонстрируйте как </a:t>
            </a:r>
            <a:r>
              <a:rPr lang="ru-RU" sz="1200" dirty="0" err="1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УФ-лучи</a:t>
            </a:r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 проходят </a:t>
            </a:r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через стандартную </a:t>
            </a:r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линзу и затемняют </a:t>
            </a:r>
            <a:r>
              <a:rPr lang="ru-RU" sz="1200" dirty="0" err="1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фотохромную</a:t>
            </a:r>
            <a:endParaRPr lang="en-US" sz="1200" dirty="0">
              <a:solidFill>
                <a:srgbClr val="404040"/>
              </a:solidFill>
              <a:latin typeface="Etelka Light" pitchFamily="50" charset="0"/>
              <a:cs typeface="Arial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5940152" y="4090733"/>
            <a:ext cx="2067760" cy="1397300"/>
          </a:xfrm>
          <a:prstGeom prst="rect">
            <a:avLst/>
          </a:prstGeom>
        </p:spPr>
      </p:pic>
      <p:sp>
        <p:nvSpPr>
          <p:cNvPr id="56" name="TextBox 13"/>
          <p:cNvSpPr txBox="1"/>
          <p:nvPr/>
        </p:nvSpPr>
        <p:spPr>
          <a:xfrm>
            <a:off x="5882770" y="4149080"/>
            <a:ext cx="21456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Линзы </a:t>
            </a:r>
            <a:r>
              <a:rPr lang="en-US" sz="12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LENCOR </a:t>
            </a:r>
            <a:r>
              <a:rPr lang="en-US" sz="1200" b="1" dirty="0" smtClean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en-US" sz="1200" b="1" dirty="0" smtClean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en-US" sz="1100" b="1" baseline="30000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™</a:t>
            </a:r>
            <a:r>
              <a:rPr lang="en-US" sz="1100" b="1" dirty="0" smtClean="0">
                <a:solidFill>
                  <a:srgbClr val="404040"/>
                </a:solidFill>
                <a:latin typeface="Etelka Light" pitchFamily="50" charset="0"/>
                <a:cs typeface="Arial"/>
              </a:rPr>
              <a:t>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защищают на 100% от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УФ-лучей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 и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фотохромная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Etelka Light" pitchFamily="50" charset="0"/>
                <a:cs typeface="Arial"/>
              </a:rPr>
              <a:t> линза не темнеет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  <a:latin typeface="Etelka Light" pitchFamily="50" charset="0"/>
              <a:cs typeface="Arial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0" y="1052736"/>
            <a:ext cx="93299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Демонстрация как линзы </a:t>
            </a:r>
            <a:r>
              <a:rPr lang="en-US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LENCOR</a:t>
            </a:r>
            <a:r>
              <a:rPr lang="en-US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 </a:t>
            </a:r>
            <a:r>
              <a:rPr lang="en-US" sz="1600" dirty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en-US" sz="1600" dirty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en-US" sz="1600" baseline="30000" dirty="0">
                <a:solidFill>
                  <a:srgbClr val="595959"/>
                </a:solidFill>
                <a:latin typeface="Etelka Light" pitchFamily="50" charset="0"/>
                <a:cs typeface="Arial"/>
              </a:rPr>
              <a:t>™</a:t>
            </a:r>
            <a:r>
              <a:rPr lang="en-US" sz="1600" dirty="0">
                <a:solidFill>
                  <a:srgbClr val="595959"/>
                </a:solidFill>
                <a:latin typeface="Etelka Light" pitchFamily="50" charset="0"/>
                <a:cs typeface="Arial"/>
              </a:rPr>
              <a:t> </a:t>
            </a: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эффективно фильтруют </a:t>
            </a: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в</a:t>
            </a: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редный сине-фиолетовый свет</a:t>
            </a:r>
            <a:r>
              <a:rPr lang="en-US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Etelka Light" pitchFamily="50" charset="0"/>
              <a:cs typeface="Arial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0" y="3645024"/>
            <a:ext cx="89098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2.  Демонстрация </a:t>
            </a: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как линзы </a:t>
            </a:r>
            <a:r>
              <a:rPr lang="en-US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LENCOR </a:t>
            </a:r>
            <a:r>
              <a:rPr lang="en-US" sz="1600" dirty="0" smtClean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en-US" sz="1600" dirty="0" smtClean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en-US" sz="1600" baseline="300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™</a:t>
            </a:r>
            <a:r>
              <a:rPr lang="en-US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 </a:t>
            </a:r>
            <a:r>
              <a:rPr lang="ru-RU" sz="1600" dirty="0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защищают от </a:t>
            </a:r>
            <a:r>
              <a:rPr lang="ru-RU" sz="1600" dirty="0" err="1" smtClean="0">
                <a:solidFill>
                  <a:srgbClr val="595959"/>
                </a:solidFill>
                <a:latin typeface="Etelka Light" pitchFamily="50" charset="0"/>
                <a:cs typeface="Arial"/>
              </a:rPr>
              <a:t>УФ-лучей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Etelka Light" pitchFamily="50" charset="0"/>
              <a:cs typeface="Arial"/>
            </a:endParaRPr>
          </a:p>
        </p:txBody>
      </p:sp>
      <p:sp>
        <p:nvSpPr>
          <p:cNvPr id="69" name="TextBox 5"/>
          <p:cNvSpPr txBox="1"/>
          <p:nvPr/>
        </p:nvSpPr>
        <p:spPr>
          <a:xfrm>
            <a:off x="7357420" y="2342215"/>
            <a:ext cx="890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УФ указка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0" name="TextBox 6"/>
          <p:cNvSpPr txBox="1"/>
          <p:nvPr/>
        </p:nvSpPr>
        <p:spPr>
          <a:xfrm>
            <a:off x="7020272" y="2591326"/>
            <a:ext cx="12272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иний свет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1" name="TextBox 5"/>
          <p:cNvSpPr txBox="1"/>
          <p:nvPr/>
        </p:nvSpPr>
        <p:spPr>
          <a:xfrm>
            <a:off x="4326526" y="5085184"/>
            <a:ext cx="890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УФ указка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2" name="TextBox 6"/>
          <p:cNvSpPr txBox="1"/>
          <p:nvPr/>
        </p:nvSpPr>
        <p:spPr>
          <a:xfrm>
            <a:off x="3989378" y="5334295"/>
            <a:ext cx="12272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иний свет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3" name="TextBox 7"/>
          <p:cNvSpPr txBox="1"/>
          <p:nvPr/>
        </p:nvSpPr>
        <p:spPr>
          <a:xfrm>
            <a:off x="3485322" y="5560463"/>
            <a:ext cx="1715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тандартная линзы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4" name="TextBox 10"/>
          <p:cNvSpPr txBox="1"/>
          <p:nvPr/>
        </p:nvSpPr>
        <p:spPr>
          <a:xfrm>
            <a:off x="6581666" y="5560463"/>
            <a:ext cx="17347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Линза </a:t>
            </a:r>
            <a:r>
              <a:rPr lang="en-US" sz="1100" dirty="0" smtClean="0">
                <a:latin typeface="Etelka Light" pitchFamily="50" charset="0"/>
                <a:cs typeface="Arial"/>
              </a:rPr>
              <a:t>LENCOR </a:t>
            </a:r>
            <a:r>
              <a:rPr lang="fr-FR" sz="1100" dirty="0" smtClean="0">
                <a:solidFill>
                  <a:srgbClr val="0073BC"/>
                </a:solidFill>
                <a:latin typeface="Etelka Light" pitchFamily="50" charset="0"/>
                <a:cs typeface="Arial"/>
              </a:rPr>
              <a:t>BL</a:t>
            </a:r>
            <a:r>
              <a:rPr lang="fr-FR" sz="1100" dirty="0" smtClean="0">
                <a:solidFill>
                  <a:srgbClr val="F58220"/>
                </a:solidFill>
                <a:latin typeface="Etelka Light" pitchFamily="50" charset="0"/>
                <a:cs typeface="Arial"/>
              </a:rPr>
              <a:t>UV</a:t>
            </a:r>
            <a:r>
              <a:rPr lang="fr-FR" sz="1100" baseline="30000" dirty="0" smtClean="0">
                <a:latin typeface="Etelka Light" pitchFamily="50" charset="0"/>
                <a:cs typeface="Arial"/>
              </a:rPr>
              <a:t>™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5" name="TextBox 5"/>
          <p:cNvSpPr txBox="1"/>
          <p:nvPr/>
        </p:nvSpPr>
        <p:spPr>
          <a:xfrm>
            <a:off x="7422870" y="5095328"/>
            <a:ext cx="8901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УФ указка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  <p:sp>
        <p:nvSpPr>
          <p:cNvPr id="76" name="TextBox 6"/>
          <p:cNvSpPr txBox="1"/>
          <p:nvPr/>
        </p:nvSpPr>
        <p:spPr>
          <a:xfrm>
            <a:off x="7085722" y="5344439"/>
            <a:ext cx="122726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100" dirty="0" smtClean="0">
                <a:latin typeface="Etelka Light" pitchFamily="50" charset="0"/>
                <a:cs typeface="Arial"/>
              </a:rPr>
              <a:t>Синий свет</a:t>
            </a:r>
            <a:endParaRPr lang="en-US" sz="1100" dirty="0">
              <a:latin typeface="Etelka Light" pitchFamily="50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6906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8804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800" i="1" dirty="0" smtClean="0">
                <a:solidFill>
                  <a:srgbClr val="FFFFFF"/>
                </a:solidFill>
                <a:latin typeface="Eurostile"/>
                <a:cs typeface="Eurostile"/>
              </a:rPr>
              <a:t>LEARNINGS FROM OTHER MARKETS</a:t>
            </a:r>
            <a:endParaRPr lang="en-US" sz="28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04924" y="1356647"/>
            <a:ext cx="7351452" cy="28931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indent="-457200">
              <a:buClr>
                <a:srgbClr val="0070C0"/>
              </a:buClr>
              <a:buFont typeface="+mj-lt"/>
              <a:buAutoNum type="arabicPeriod"/>
            </a:pPr>
            <a:r>
              <a:rPr lang="en-US" sz="2400" dirty="0" smtClean="0">
                <a:solidFill>
                  <a:srgbClr val="0070C0"/>
                </a:solidFill>
                <a:latin typeface="Arial"/>
                <a:cs typeface="Arial"/>
              </a:rPr>
              <a:t>Managing the blue cut mix</a:t>
            </a:r>
          </a:p>
          <a:p>
            <a:pPr marL="914400" lvl="1" indent="-457200">
              <a:buClr>
                <a:srgbClr val="0070C0"/>
              </a:buClr>
              <a:buFontTx/>
              <a:buChar char="‾"/>
            </a:pPr>
            <a:r>
              <a:rPr lang="en-US" sz="2000" dirty="0" smtClean="0">
                <a:solidFill>
                  <a:srgbClr val="FFC000"/>
                </a:solidFill>
                <a:latin typeface="Arial"/>
                <a:cs typeface="Arial"/>
              </a:rPr>
              <a:t>China: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 Selling both blue AR &amp; material with similar pricing, but quickly switching to BLUV due to the absence of blue reflection</a:t>
            </a:r>
          </a:p>
          <a:p>
            <a:pPr marL="914400" lvl="1" indent="-457200">
              <a:buClr>
                <a:srgbClr val="0070C0"/>
              </a:buClr>
              <a:buFontTx/>
              <a:buChar char="‾"/>
            </a:pPr>
            <a:r>
              <a:rPr lang="en-US" sz="2000" dirty="0" smtClean="0">
                <a:solidFill>
                  <a:srgbClr val="FFC000"/>
                </a:solidFill>
                <a:latin typeface="Arial"/>
                <a:cs typeface="Arial"/>
              </a:rPr>
              <a:t>Philippines: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 Replacing current blue AR with BLUV (similar pricing) </a:t>
            </a:r>
          </a:p>
          <a:p>
            <a:pPr marL="457200" indent="-457200">
              <a:buClr>
                <a:srgbClr val="0070C0"/>
              </a:buClr>
              <a:buFont typeface="+mj-lt"/>
              <a:buAutoNum type="arabicPeriod"/>
            </a:pPr>
            <a:r>
              <a:rPr lang="en-US" sz="2400" dirty="0" smtClean="0">
                <a:solidFill>
                  <a:srgbClr val="0070C0"/>
                </a:solidFill>
                <a:latin typeface="Arial"/>
                <a:cs typeface="Arial"/>
              </a:rPr>
              <a:t>BLUV branding </a:t>
            </a:r>
          </a:p>
          <a:p>
            <a:pPr marL="914400" lvl="1" indent="-457200">
              <a:buClr>
                <a:srgbClr val="0070C0"/>
              </a:buClr>
              <a:buFontTx/>
              <a:buChar char="‾"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Used in China, Taiwan, India, Philippines, Malaysia</a:t>
            </a:r>
          </a:p>
          <a:p>
            <a:pPr marL="914400" lvl="1" indent="-457200">
              <a:buClr>
                <a:srgbClr val="0070C0"/>
              </a:buClr>
              <a:buFontTx/>
              <a:buChar char="‾"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Used across entities in China, Taiwan, India </a:t>
            </a:r>
            <a:endParaRPr lang="en-US" sz="200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7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98958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9827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800" i="1" dirty="0" smtClean="0">
                <a:solidFill>
                  <a:srgbClr val="FFFFFF"/>
                </a:solidFill>
                <a:latin typeface="Eurostile"/>
                <a:cs typeface="Eurostile"/>
              </a:rPr>
              <a:t>AMERA RECOMMENDATIONS</a:t>
            </a:r>
            <a:endParaRPr lang="en-US" sz="28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04924" y="1356647"/>
            <a:ext cx="7927516" cy="32624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57200" indent="-457200">
              <a:buClr>
                <a:srgbClr val="0070C0"/>
              </a:buClr>
              <a:buFont typeface="+mj-lt"/>
              <a:buAutoNum type="arabicPeriod"/>
            </a:pPr>
            <a:r>
              <a:rPr lang="en-US" sz="2400" dirty="0" smtClean="0">
                <a:solidFill>
                  <a:srgbClr val="0070C0"/>
                </a:solidFill>
                <a:latin typeface="Arial"/>
                <a:cs typeface="Arial"/>
              </a:rPr>
              <a:t>Price differentiation</a:t>
            </a:r>
          </a:p>
          <a:p>
            <a:pPr marL="914400" lvl="1" indent="-457200">
              <a:buClr>
                <a:srgbClr val="0070C0"/>
              </a:buClr>
              <a:buFont typeface="Arial" panose="020B0604020202020204" pitchFamily="34" charset="0"/>
              <a:buChar char="‾"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Sell blue AR &amp; material in Mid-Tier with differentiated pricing =&gt; price blue material slightly higher due to aesthetic benefit and target to more-demanding customers</a:t>
            </a:r>
          </a:p>
          <a:p>
            <a:pPr marL="457200" indent="-457200">
              <a:buClr>
                <a:srgbClr val="0070C0"/>
              </a:buClr>
              <a:buFont typeface="+mj-lt"/>
              <a:buAutoNum type="arabicPeriod"/>
            </a:pPr>
            <a:r>
              <a:rPr lang="en-US" sz="2400" dirty="0">
                <a:solidFill>
                  <a:srgbClr val="0070C0"/>
                </a:solidFill>
                <a:latin typeface="Arial"/>
                <a:cs typeface="Arial"/>
              </a:rPr>
              <a:t>BLUV branding </a:t>
            </a:r>
            <a:endParaRPr lang="en-US" sz="2400" dirty="0" smtClean="0">
              <a:solidFill>
                <a:srgbClr val="0070C0"/>
              </a:solidFill>
              <a:latin typeface="Arial"/>
              <a:cs typeface="Arial"/>
            </a:endParaRPr>
          </a:p>
          <a:p>
            <a:pPr marL="914400" lvl="1" indent="-457200">
              <a:buClr>
                <a:srgbClr val="0070C0"/>
              </a:buClr>
              <a:buFont typeface="Arial" panose="020B0604020202020204" pitchFamily="34" charset="0"/>
              <a:buChar char="‾"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Leverage </a:t>
            </a: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the complete protection story and capitalize on 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the blue </a:t>
            </a:r>
            <a:r>
              <a:rPr lang="en-US" sz="20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light </a:t>
            </a: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trend </a:t>
            </a:r>
          </a:p>
          <a:p>
            <a:pPr marL="914400" lvl="1" indent="-457200">
              <a:buClr>
                <a:srgbClr val="0070C0"/>
              </a:buClr>
              <a:buFont typeface="Arial" panose="020B0604020202020204" pitchFamily="34" charset="0"/>
              <a:buChar char="‾"/>
            </a:pPr>
            <a:r>
              <a:rPr lang="en-US" sz="20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/>
              </a:rPr>
              <a:t>Rebrand existing blue cut material products</a:t>
            </a:r>
          </a:p>
          <a:p>
            <a:pPr marL="457200" indent="-457200">
              <a:buClr>
                <a:srgbClr val="0070C0"/>
              </a:buClr>
              <a:buFont typeface="+mj-lt"/>
              <a:buAutoNum type="arabicPeriod"/>
            </a:pPr>
            <a:r>
              <a:rPr lang="en-US" sz="2400" dirty="0" smtClean="0">
                <a:solidFill>
                  <a:srgbClr val="0070C0"/>
                </a:solidFill>
                <a:latin typeface="Arial"/>
                <a:cs typeface="Arial"/>
              </a:rPr>
              <a:t>Cascade across entities </a:t>
            </a:r>
            <a:endParaRPr lang="en-US" sz="2400" dirty="0">
              <a:solidFill>
                <a:srgbClr val="0070C0"/>
              </a:solidFill>
              <a:latin typeface="Arial"/>
              <a:cs typeface="Arial"/>
            </a:endParaRPr>
          </a:p>
          <a:p>
            <a:pPr marL="457200" indent="-457200">
              <a:buClr>
                <a:srgbClr val="0070C0"/>
              </a:buClr>
              <a:buFont typeface="Arial" panose="020B0604020202020204" pitchFamily="34" charset="0"/>
              <a:buChar char="‾"/>
            </a:pPr>
            <a:endParaRPr lang="en-US" sz="2000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  <a:cs typeface="Arial"/>
            </a:endParaRPr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35696" y="4412105"/>
            <a:ext cx="914905" cy="1296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39952" y="4412105"/>
            <a:ext cx="936104" cy="1321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91341" y="4412105"/>
            <a:ext cx="838200" cy="752475"/>
          </a:xfrm>
          <a:prstGeom prst="rect">
            <a:avLst/>
          </a:prstGeom>
        </p:spPr>
      </p:pic>
      <p:pic>
        <p:nvPicPr>
          <p:cNvPr id="289824" name="Picture 32" descr="http://ocp.dk/filer/Shamir_Logo_White%5b0%5d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18653" y="4412105"/>
            <a:ext cx="936104" cy="749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78336" y="4412105"/>
            <a:ext cx="934024" cy="1321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ctangle 4"/>
          <p:cNvSpPr/>
          <p:nvPr/>
        </p:nvSpPr>
        <p:spPr>
          <a:xfrm>
            <a:off x="5796136" y="4412105"/>
            <a:ext cx="936104" cy="60107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rivate Lab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491529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01466" y="260648"/>
            <a:ext cx="7610894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Динамика роста линз для защиты от вредного синего света 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04924" y="1356647"/>
            <a:ext cx="736749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400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cs typeface="Arial"/>
              </a:rPr>
              <a:t>Сумасшедший рост </a:t>
            </a:r>
            <a:r>
              <a:rPr lang="ru-RU" sz="2400" dirty="0" err="1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cs typeface="Arial"/>
              </a:rPr>
              <a:t>год-к-году</a:t>
            </a:r>
            <a:endParaRPr lang="en-US" sz="2400" dirty="0" smtClean="0">
              <a:solidFill>
                <a:prstClr val="black">
                  <a:lumMod val="50000"/>
                  <a:lumOff val="50000"/>
                </a:prstClr>
              </a:solidFill>
              <a:latin typeface="Etelka Light" pitchFamily="50" charset="0"/>
              <a:cs typeface="Arial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54034381"/>
              </p:ext>
            </p:extLst>
          </p:nvPr>
        </p:nvGraphicFramePr>
        <p:xfrm>
          <a:off x="755576" y="2132856"/>
          <a:ext cx="7412412" cy="4179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ular Callout 10"/>
          <p:cNvSpPr/>
          <p:nvPr/>
        </p:nvSpPr>
        <p:spPr>
          <a:xfrm>
            <a:off x="7972420" y="3140968"/>
            <a:ext cx="992068" cy="1008112"/>
          </a:xfrm>
          <a:prstGeom prst="wedgeRectCallout">
            <a:avLst>
              <a:gd name="adj1" fmla="val -9918"/>
              <a:gd name="adj2" fmla="val -76506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latin typeface="Etelka Light" pitchFamily="50" charset="0"/>
              </a:rPr>
              <a:t>Россия приросла на 27% и продает где-то 54к штук</a:t>
            </a:r>
            <a:endParaRPr lang="en-US" sz="1100" dirty="0">
              <a:latin typeface="Etelka Light" pitchFamily="50" charset="0"/>
            </a:endParaRPr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0868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44417" y="1842117"/>
            <a:ext cx="736749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cs typeface="Arial"/>
              </a:rPr>
              <a:t>Общий продажи «синих» линз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Etelka Light" pitchFamily="50" charset="0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1520" y="120812"/>
            <a:ext cx="7705219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Защита от синего света: распределение между покрытиями </a:t>
            </a:r>
            <a:r>
              <a:rPr lang="en-US" sz="2800" i="1" dirty="0" err="1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vs</a:t>
            </a: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 </a:t>
            </a: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материалами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42815066"/>
              </p:ext>
            </p:extLst>
          </p:nvPr>
        </p:nvGraphicFramePr>
        <p:xfrm>
          <a:off x="-252536" y="2816647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ight Arrow 2"/>
          <p:cNvSpPr/>
          <p:nvPr/>
        </p:nvSpPr>
        <p:spPr>
          <a:xfrm>
            <a:off x="4283968" y="3573016"/>
            <a:ext cx="648072" cy="864096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Etelka Light" pitchFamily="50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1404664" y="2419083"/>
            <a:ext cx="736749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cs typeface="Arial"/>
              </a:rPr>
              <a:t>2015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Etelka Light" pitchFamily="50" charset="0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491880" y="2419082"/>
            <a:ext cx="736749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cs typeface="Arial"/>
              </a:rPr>
              <a:t>2016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Etelka Light" pitchFamily="50" charset="0"/>
              <a:cs typeface="Arial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359851166"/>
              </p:ext>
            </p:extLst>
          </p:nvPr>
        </p:nvGraphicFramePr>
        <p:xfrm>
          <a:off x="5039544" y="3111575"/>
          <a:ext cx="4104456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ular Callout 11"/>
          <p:cNvSpPr/>
          <p:nvPr/>
        </p:nvSpPr>
        <p:spPr>
          <a:xfrm>
            <a:off x="6679594" y="5877272"/>
            <a:ext cx="992068" cy="792088"/>
          </a:xfrm>
          <a:prstGeom prst="wedgeRectCallout">
            <a:avLst>
              <a:gd name="adj1" fmla="val -9918"/>
              <a:gd name="adj2" fmla="val -76506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latin typeface="Etelka Light" pitchFamily="50" charset="0"/>
              </a:rPr>
              <a:t>В России только </a:t>
            </a:r>
            <a:r>
              <a:rPr lang="en-US" sz="1100" dirty="0" smtClean="0">
                <a:latin typeface="Etelka Light" pitchFamily="50" charset="0"/>
              </a:rPr>
              <a:t>AR</a:t>
            </a:r>
            <a:endParaRPr lang="en-US" sz="1100" dirty="0">
              <a:latin typeface="Etelka Light" pitchFamily="50" charset="0"/>
            </a:endParaRPr>
          </a:p>
        </p:txBody>
      </p:sp>
      <p:sp>
        <p:nvSpPr>
          <p:cNvPr id="13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2892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7779" name="think-cell Slide" r:id="rId5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grpSp>
        <p:nvGrpSpPr>
          <p:cNvPr id="7" name="Group 3"/>
          <p:cNvGrpSpPr>
            <a:grpSpLocks/>
          </p:cNvGrpSpPr>
          <p:nvPr/>
        </p:nvGrpSpPr>
        <p:grpSpPr bwMode="auto">
          <a:xfrm>
            <a:off x="107504" y="1268760"/>
            <a:ext cx="5329692" cy="4968553"/>
            <a:chOff x="2295" y="853"/>
            <a:chExt cx="3386" cy="2870"/>
          </a:xfrm>
          <a:solidFill>
            <a:srgbClr val="C0C0C0"/>
          </a:solidFill>
        </p:grpSpPr>
        <p:sp>
          <p:nvSpPr>
            <p:cNvPr id="8" name="Freeform 7"/>
            <p:cNvSpPr>
              <a:spLocks noChangeAspect="1"/>
            </p:cNvSpPr>
            <p:nvPr/>
          </p:nvSpPr>
          <p:spPr bwMode="auto">
            <a:xfrm>
              <a:off x="2932" y="1926"/>
              <a:ext cx="37" cy="64"/>
            </a:xfrm>
            <a:custGeom>
              <a:avLst/>
              <a:gdLst>
                <a:gd name="T0" fmla="*/ 0 w 33"/>
                <a:gd name="T1" fmla="*/ 15 h 63"/>
                <a:gd name="T2" fmla="*/ 76 w 33"/>
                <a:gd name="T3" fmla="*/ 7 h 63"/>
                <a:gd name="T4" fmla="*/ 135 w 33"/>
                <a:gd name="T5" fmla="*/ 0 h 63"/>
                <a:gd name="T6" fmla="*/ 276 w 33"/>
                <a:gd name="T7" fmla="*/ 11 h 63"/>
                <a:gd name="T8" fmla="*/ 276 w 33"/>
                <a:gd name="T9" fmla="*/ 15 h 63"/>
                <a:gd name="T10" fmla="*/ 276 w 33"/>
                <a:gd name="T11" fmla="*/ 20 h 63"/>
                <a:gd name="T12" fmla="*/ 276 w 33"/>
                <a:gd name="T13" fmla="*/ 26 h 63"/>
                <a:gd name="T14" fmla="*/ 299 w 33"/>
                <a:gd name="T15" fmla="*/ 30 h 63"/>
                <a:gd name="T16" fmla="*/ 346 w 33"/>
                <a:gd name="T17" fmla="*/ 60 h 63"/>
                <a:gd name="T18" fmla="*/ 276 w 33"/>
                <a:gd name="T19" fmla="*/ 75 h 63"/>
                <a:gd name="T20" fmla="*/ 195 w 33"/>
                <a:gd name="T21" fmla="*/ 82 h 63"/>
                <a:gd name="T22" fmla="*/ 195 w 33"/>
                <a:gd name="T23" fmla="*/ 80 h 63"/>
                <a:gd name="T24" fmla="*/ 135 w 33"/>
                <a:gd name="T25" fmla="*/ 71 h 63"/>
                <a:gd name="T26" fmla="*/ 3 w 33"/>
                <a:gd name="T27" fmla="*/ 67 h 63"/>
                <a:gd name="T28" fmla="*/ 76 w 33"/>
                <a:gd name="T29" fmla="*/ 67 h 63"/>
                <a:gd name="T30" fmla="*/ 76 w 33"/>
                <a:gd name="T31" fmla="*/ 56 h 63"/>
                <a:gd name="T32" fmla="*/ 95 w 33"/>
                <a:gd name="T33" fmla="*/ 54 h 63"/>
                <a:gd name="T34" fmla="*/ 76 w 33"/>
                <a:gd name="T35" fmla="*/ 30 h 63"/>
                <a:gd name="T36" fmla="*/ 76 w 33"/>
                <a:gd name="T37" fmla="*/ 22 h 63"/>
                <a:gd name="T38" fmla="*/ 0 w 33"/>
                <a:gd name="T39" fmla="*/ 15 h 6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3"/>
                <a:gd name="T61" fmla="*/ 0 h 63"/>
                <a:gd name="T62" fmla="*/ 33 w 33"/>
                <a:gd name="T63" fmla="*/ 63 h 6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3" h="63">
                  <a:moveTo>
                    <a:pt x="0" y="15"/>
                  </a:moveTo>
                  <a:lnTo>
                    <a:pt x="7" y="7"/>
                  </a:lnTo>
                  <a:lnTo>
                    <a:pt x="13" y="0"/>
                  </a:lnTo>
                  <a:lnTo>
                    <a:pt x="26" y="11"/>
                  </a:lnTo>
                  <a:lnTo>
                    <a:pt x="26" y="15"/>
                  </a:lnTo>
                  <a:lnTo>
                    <a:pt x="26" y="20"/>
                  </a:lnTo>
                  <a:lnTo>
                    <a:pt x="26" y="26"/>
                  </a:lnTo>
                  <a:lnTo>
                    <a:pt x="28" y="30"/>
                  </a:lnTo>
                  <a:lnTo>
                    <a:pt x="33" y="41"/>
                  </a:lnTo>
                  <a:lnTo>
                    <a:pt x="26" y="56"/>
                  </a:lnTo>
                  <a:lnTo>
                    <a:pt x="18" y="63"/>
                  </a:lnTo>
                  <a:lnTo>
                    <a:pt x="18" y="61"/>
                  </a:lnTo>
                  <a:lnTo>
                    <a:pt x="13" y="52"/>
                  </a:lnTo>
                  <a:lnTo>
                    <a:pt x="3" y="48"/>
                  </a:lnTo>
                  <a:lnTo>
                    <a:pt x="7" y="48"/>
                  </a:lnTo>
                  <a:lnTo>
                    <a:pt x="7" y="37"/>
                  </a:lnTo>
                  <a:lnTo>
                    <a:pt x="9" y="35"/>
                  </a:lnTo>
                  <a:lnTo>
                    <a:pt x="7" y="30"/>
                  </a:lnTo>
                  <a:lnTo>
                    <a:pt x="7" y="22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" name="Freeform 8"/>
            <p:cNvSpPr>
              <a:spLocks noChangeAspect="1"/>
            </p:cNvSpPr>
            <p:nvPr/>
          </p:nvSpPr>
          <p:spPr bwMode="auto">
            <a:xfrm>
              <a:off x="2654" y="1744"/>
              <a:ext cx="62" cy="42"/>
            </a:xfrm>
            <a:custGeom>
              <a:avLst/>
              <a:gdLst>
                <a:gd name="T0" fmla="*/ 0 w 56"/>
                <a:gd name="T1" fmla="*/ 6 h 41"/>
                <a:gd name="T2" fmla="*/ 83 w 56"/>
                <a:gd name="T3" fmla="*/ 2 h 41"/>
                <a:gd name="T4" fmla="*/ 117 w 56"/>
                <a:gd name="T5" fmla="*/ 2 h 41"/>
                <a:gd name="T6" fmla="*/ 130 w 56"/>
                <a:gd name="T7" fmla="*/ 6 h 41"/>
                <a:gd name="T8" fmla="*/ 176 w 56"/>
                <a:gd name="T9" fmla="*/ 2 h 41"/>
                <a:gd name="T10" fmla="*/ 216 w 56"/>
                <a:gd name="T11" fmla="*/ 0 h 41"/>
                <a:gd name="T12" fmla="*/ 278 w 56"/>
                <a:gd name="T13" fmla="*/ 0 h 41"/>
                <a:gd name="T14" fmla="*/ 347 w 56"/>
                <a:gd name="T15" fmla="*/ 2 h 41"/>
                <a:gd name="T16" fmla="*/ 415 w 56"/>
                <a:gd name="T17" fmla="*/ 6 h 41"/>
                <a:gd name="T18" fmla="*/ 415 w 56"/>
                <a:gd name="T19" fmla="*/ 11 h 41"/>
                <a:gd name="T20" fmla="*/ 487 w 56"/>
                <a:gd name="T21" fmla="*/ 15 h 41"/>
                <a:gd name="T22" fmla="*/ 514 w 56"/>
                <a:gd name="T23" fmla="*/ 46 h 41"/>
                <a:gd name="T24" fmla="*/ 459 w 56"/>
                <a:gd name="T25" fmla="*/ 48 h 41"/>
                <a:gd name="T26" fmla="*/ 415 w 56"/>
                <a:gd name="T27" fmla="*/ 50 h 41"/>
                <a:gd name="T28" fmla="*/ 415 w 56"/>
                <a:gd name="T29" fmla="*/ 61 h 41"/>
                <a:gd name="T30" fmla="*/ 415 w 56"/>
                <a:gd name="T31" fmla="*/ 61 h 41"/>
                <a:gd name="T32" fmla="*/ 308 w 56"/>
                <a:gd name="T33" fmla="*/ 57 h 41"/>
                <a:gd name="T34" fmla="*/ 278 w 56"/>
                <a:gd name="T35" fmla="*/ 48 h 41"/>
                <a:gd name="T36" fmla="*/ 265 w 56"/>
                <a:gd name="T37" fmla="*/ 52 h 41"/>
                <a:gd name="T38" fmla="*/ 130 w 56"/>
                <a:gd name="T39" fmla="*/ 42 h 41"/>
                <a:gd name="T40" fmla="*/ 117 w 56"/>
                <a:gd name="T41" fmla="*/ 17 h 41"/>
                <a:gd name="T42" fmla="*/ 83 w 56"/>
                <a:gd name="T43" fmla="*/ 11 h 41"/>
                <a:gd name="T44" fmla="*/ 61 w 56"/>
                <a:gd name="T45" fmla="*/ 15 h 41"/>
                <a:gd name="T46" fmla="*/ 0 w 56"/>
                <a:gd name="T47" fmla="*/ 11 h 41"/>
                <a:gd name="T48" fmla="*/ 0 w 56"/>
                <a:gd name="T49" fmla="*/ 6 h 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6"/>
                <a:gd name="T76" fmla="*/ 0 h 41"/>
                <a:gd name="T77" fmla="*/ 56 w 56"/>
                <a:gd name="T78" fmla="*/ 41 h 4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6" h="41">
                  <a:moveTo>
                    <a:pt x="0" y="6"/>
                  </a:moveTo>
                  <a:lnTo>
                    <a:pt x="9" y="2"/>
                  </a:lnTo>
                  <a:lnTo>
                    <a:pt x="13" y="2"/>
                  </a:lnTo>
                  <a:lnTo>
                    <a:pt x="15" y="6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9" y="2"/>
                  </a:lnTo>
                  <a:lnTo>
                    <a:pt x="45" y="6"/>
                  </a:lnTo>
                  <a:lnTo>
                    <a:pt x="45" y="11"/>
                  </a:lnTo>
                  <a:lnTo>
                    <a:pt x="54" y="15"/>
                  </a:lnTo>
                  <a:lnTo>
                    <a:pt x="56" y="26"/>
                  </a:lnTo>
                  <a:lnTo>
                    <a:pt x="50" y="28"/>
                  </a:lnTo>
                  <a:lnTo>
                    <a:pt x="45" y="30"/>
                  </a:lnTo>
                  <a:lnTo>
                    <a:pt x="45" y="41"/>
                  </a:lnTo>
                  <a:lnTo>
                    <a:pt x="34" y="37"/>
                  </a:lnTo>
                  <a:lnTo>
                    <a:pt x="30" y="28"/>
                  </a:lnTo>
                  <a:lnTo>
                    <a:pt x="28" y="32"/>
                  </a:lnTo>
                  <a:lnTo>
                    <a:pt x="15" y="22"/>
                  </a:lnTo>
                  <a:lnTo>
                    <a:pt x="13" y="17"/>
                  </a:lnTo>
                  <a:lnTo>
                    <a:pt x="9" y="11"/>
                  </a:lnTo>
                  <a:lnTo>
                    <a:pt x="6" y="15"/>
                  </a:lnTo>
                  <a:lnTo>
                    <a:pt x="0" y="11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" name="Freeform 11"/>
            <p:cNvSpPr>
              <a:spLocks noChangeAspect="1"/>
            </p:cNvSpPr>
            <p:nvPr/>
          </p:nvSpPr>
          <p:spPr bwMode="auto">
            <a:xfrm>
              <a:off x="2989" y="1898"/>
              <a:ext cx="101" cy="57"/>
            </a:xfrm>
            <a:custGeom>
              <a:avLst/>
              <a:gdLst>
                <a:gd name="T0" fmla="*/ 0 w 91"/>
                <a:gd name="T1" fmla="*/ 0 h 56"/>
                <a:gd name="T2" fmla="*/ 63 w 91"/>
                <a:gd name="T3" fmla="*/ 2 h 56"/>
                <a:gd name="T4" fmla="*/ 4 w 91"/>
                <a:gd name="T5" fmla="*/ 4 h 56"/>
                <a:gd name="T6" fmla="*/ 4 w 91"/>
                <a:gd name="T7" fmla="*/ 9 h 56"/>
                <a:gd name="T8" fmla="*/ 112 w 91"/>
                <a:gd name="T9" fmla="*/ 4 h 56"/>
                <a:gd name="T10" fmla="*/ 189 w 91"/>
                <a:gd name="T11" fmla="*/ 9 h 56"/>
                <a:gd name="T12" fmla="*/ 224 w 91"/>
                <a:gd name="T13" fmla="*/ 9 h 56"/>
                <a:gd name="T14" fmla="*/ 306 w 91"/>
                <a:gd name="T15" fmla="*/ 9 h 56"/>
                <a:gd name="T16" fmla="*/ 377 w 91"/>
                <a:gd name="T17" fmla="*/ 11 h 56"/>
                <a:gd name="T18" fmla="*/ 382 w 91"/>
                <a:gd name="T19" fmla="*/ 9 h 56"/>
                <a:gd name="T20" fmla="*/ 466 w 91"/>
                <a:gd name="T21" fmla="*/ 4 h 56"/>
                <a:gd name="T22" fmla="*/ 596 w 91"/>
                <a:gd name="T23" fmla="*/ 0 h 56"/>
                <a:gd name="T24" fmla="*/ 603 w 91"/>
                <a:gd name="T25" fmla="*/ 2 h 56"/>
                <a:gd name="T26" fmla="*/ 715 w 91"/>
                <a:gd name="T27" fmla="*/ 2 h 56"/>
                <a:gd name="T28" fmla="*/ 743 w 91"/>
                <a:gd name="T29" fmla="*/ 4 h 56"/>
                <a:gd name="T30" fmla="*/ 782 w 91"/>
                <a:gd name="T31" fmla="*/ 4 h 56"/>
                <a:gd name="T32" fmla="*/ 782 w 91"/>
                <a:gd name="T33" fmla="*/ 15 h 56"/>
                <a:gd name="T34" fmla="*/ 743 w 91"/>
                <a:gd name="T35" fmla="*/ 15 h 56"/>
                <a:gd name="T36" fmla="*/ 694 w 91"/>
                <a:gd name="T37" fmla="*/ 22 h 56"/>
                <a:gd name="T38" fmla="*/ 715 w 91"/>
                <a:gd name="T39" fmla="*/ 49 h 56"/>
                <a:gd name="T40" fmla="*/ 694 w 91"/>
                <a:gd name="T41" fmla="*/ 51 h 56"/>
                <a:gd name="T42" fmla="*/ 743 w 91"/>
                <a:gd name="T43" fmla="*/ 60 h 56"/>
                <a:gd name="T44" fmla="*/ 694 w 91"/>
                <a:gd name="T45" fmla="*/ 60 h 56"/>
                <a:gd name="T46" fmla="*/ 658 w 91"/>
                <a:gd name="T47" fmla="*/ 58 h 56"/>
                <a:gd name="T48" fmla="*/ 523 w 91"/>
                <a:gd name="T49" fmla="*/ 64 h 56"/>
                <a:gd name="T50" fmla="*/ 495 w 91"/>
                <a:gd name="T51" fmla="*/ 64 h 56"/>
                <a:gd name="T52" fmla="*/ 495 w 91"/>
                <a:gd name="T53" fmla="*/ 73 h 56"/>
                <a:gd name="T54" fmla="*/ 424 w 91"/>
                <a:gd name="T55" fmla="*/ 75 h 56"/>
                <a:gd name="T56" fmla="*/ 377 w 91"/>
                <a:gd name="T57" fmla="*/ 73 h 56"/>
                <a:gd name="T58" fmla="*/ 340 w 91"/>
                <a:gd name="T59" fmla="*/ 73 h 56"/>
                <a:gd name="T60" fmla="*/ 306 w 91"/>
                <a:gd name="T61" fmla="*/ 69 h 56"/>
                <a:gd name="T62" fmla="*/ 97 w 91"/>
                <a:gd name="T63" fmla="*/ 73 h 56"/>
                <a:gd name="T64" fmla="*/ 97 w 91"/>
                <a:gd name="T65" fmla="*/ 64 h 56"/>
                <a:gd name="T66" fmla="*/ 0 w 91"/>
                <a:gd name="T67" fmla="*/ 54 h 56"/>
                <a:gd name="T68" fmla="*/ 4 w 91"/>
                <a:gd name="T69" fmla="*/ 51 h 56"/>
                <a:gd name="T70" fmla="*/ 0 w 91"/>
                <a:gd name="T71" fmla="*/ 49 h 56"/>
                <a:gd name="T72" fmla="*/ 0 w 91"/>
                <a:gd name="T73" fmla="*/ 26 h 56"/>
                <a:gd name="T74" fmla="*/ 4 w 91"/>
                <a:gd name="T75" fmla="*/ 24 h 56"/>
                <a:gd name="T76" fmla="*/ 63 w 91"/>
                <a:gd name="T77" fmla="*/ 22 h 56"/>
                <a:gd name="T78" fmla="*/ 4 w 91"/>
                <a:gd name="T79" fmla="*/ 17 h 56"/>
                <a:gd name="T80" fmla="*/ 0 w 91"/>
                <a:gd name="T81" fmla="*/ 11 h 56"/>
                <a:gd name="T82" fmla="*/ 0 w 91"/>
                <a:gd name="T83" fmla="*/ 0 h 5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1"/>
                <a:gd name="T127" fmla="*/ 0 h 56"/>
                <a:gd name="T128" fmla="*/ 91 w 91"/>
                <a:gd name="T129" fmla="*/ 56 h 5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1" h="56">
                  <a:moveTo>
                    <a:pt x="0" y="0"/>
                  </a:moveTo>
                  <a:lnTo>
                    <a:pt x="7" y="2"/>
                  </a:lnTo>
                  <a:lnTo>
                    <a:pt x="4" y="4"/>
                  </a:lnTo>
                  <a:lnTo>
                    <a:pt x="4" y="9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26" y="9"/>
                  </a:lnTo>
                  <a:lnTo>
                    <a:pt x="35" y="9"/>
                  </a:lnTo>
                  <a:lnTo>
                    <a:pt x="43" y="11"/>
                  </a:lnTo>
                  <a:lnTo>
                    <a:pt x="45" y="9"/>
                  </a:lnTo>
                  <a:lnTo>
                    <a:pt x="54" y="4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84" y="2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15"/>
                  </a:lnTo>
                  <a:lnTo>
                    <a:pt x="87" y="15"/>
                  </a:lnTo>
                  <a:lnTo>
                    <a:pt x="80" y="22"/>
                  </a:lnTo>
                  <a:lnTo>
                    <a:pt x="84" y="30"/>
                  </a:lnTo>
                  <a:lnTo>
                    <a:pt x="80" y="32"/>
                  </a:lnTo>
                  <a:lnTo>
                    <a:pt x="87" y="41"/>
                  </a:lnTo>
                  <a:lnTo>
                    <a:pt x="80" y="41"/>
                  </a:lnTo>
                  <a:lnTo>
                    <a:pt x="76" y="39"/>
                  </a:lnTo>
                  <a:lnTo>
                    <a:pt x="61" y="45"/>
                  </a:lnTo>
                  <a:lnTo>
                    <a:pt x="58" y="45"/>
                  </a:lnTo>
                  <a:lnTo>
                    <a:pt x="58" y="54"/>
                  </a:lnTo>
                  <a:lnTo>
                    <a:pt x="50" y="56"/>
                  </a:lnTo>
                  <a:lnTo>
                    <a:pt x="43" y="54"/>
                  </a:lnTo>
                  <a:lnTo>
                    <a:pt x="39" y="54"/>
                  </a:lnTo>
                  <a:lnTo>
                    <a:pt x="35" y="50"/>
                  </a:lnTo>
                  <a:lnTo>
                    <a:pt x="11" y="54"/>
                  </a:lnTo>
                  <a:lnTo>
                    <a:pt x="11" y="45"/>
                  </a:lnTo>
                  <a:lnTo>
                    <a:pt x="0" y="35"/>
                  </a:lnTo>
                  <a:lnTo>
                    <a:pt x="4" y="32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4" y="24"/>
                  </a:lnTo>
                  <a:lnTo>
                    <a:pt x="7" y="22"/>
                  </a:lnTo>
                  <a:lnTo>
                    <a:pt x="4" y="17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" name="Freeform 12"/>
            <p:cNvSpPr>
              <a:spLocks noChangeAspect="1"/>
            </p:cNvSpPr>
            <p:nvPr/>
          </p:nvSpPr>
          <p:spPr bwMode="auto">
            <a:xfrm>
              <a:off x="2741" y="1615"/>
              <a:ext cx="45" cy="50"/>
            </a:xfrm>
            <a:custGeom>
              <a:avLst/>
              <a:gdLst>
                <a:gd name="T0" fmla="*/ 4 w 41"/>
                <a:gd name="T1" fmla="*/ 67 h 49"/>
                <a:gd name="T2" fmla="*/ 4 w 41"/>
                <a:gd name="T3" fmla="*/ 54 h 49"/>
                <a:gd name="T4" fmla="*/ 2 w 41"/>
                <a:gd name="T5" fmla="*/ 50 h 49"/>
                <a:gd name="T6" fmla="*/ 0 w 41"/>
                <a:gd name="T7" fmla="*/ 54 h 49"/>
                <a:gd name="T8" fmla="*/ 0 w 41"/>
                <a:gd name="T9" fmla="*/ 19 h 49"/>
                <a:gd name="T10" fmla="*/ 0 w 41"/>
                <a:gd name="T11" fmla="*/ 8 h 49"/>
                <a:gd name="T12" fmla="*/ 4 w 41"/>
                <a:gd name="T13" fmla="*/ 13 h 49"/>
                <a:gd name="T14" fmla="*/ 42 w 41"/>
                <a:gd name="T15" fmla="*/ 4 h 49"/>
                <a:gd name="T16" fmla="*/ 112 w 41"/>
                <a:gd name="T17" fmla="*/ 6 h 49"/>
                <a:gd name="T18" fmla="*/ 112 w 41"/>
                <a:gd name="T19" fmla="*/ 0 h 49"/>
                <a:gd name="T20" fmla="*/ 199 w 41"/>
                <a:gd name="T21" fmla="*/ 0 h 49"/>
                <a:gd name="T22" fmla="*/ 235 w 41"/>
                <a:gd name="T23" fmla="*/ 8 h 49"/>
                <a:gd name="T24" fmla="*/ 308 w 41"/>
                <a:gd name="T25" fmla="*/ 13 h 49"/>
                <a:gd name="T26" fmla="*/ 262 w 41"/>
                <a:gd name="T27" fmla="*/ 19 h 49"/>
                <a:gd name="T28" fmla="*/ 217 w 41"/>
                <a:gd name="T29" fmla="*/ 19 h 49"/>
                <a:gd name="T30" fmla="*/ 217 w 41"/>
                <a:gd name="T31" fmla="*/ 21 h 49"/>
                <a:gd name="T32" fmla="*/ 217 w 41"/>
                <a:gd name="T33" fmla="*/ 23 h 49"/>
                <a:gd name="T34" fmla="*/ 199 w 41"/>
                <a:gd name="T35" fmla="*/ 50 h 49"/>
                <a:gd name="T36" fmla="*/ 162 w 41"/>
                <a:gd name="T37" fmla="*/ 54 h 49"/>
                <a:gd name="T38" fmla="*/ 162 w 41"/>
                <a:gd name="T39" fmla="*/ 63 h 49"/>
                <a:gd name="T40" fmla="*/ 162 w 41"/>
                <a:gd name="T41" fmla="*/ 69 h 49"/>
                <a:gd name="T42" fmla="*/ 112 w 41"/>
                <a:gd name="T43" fmla="*/ 69 h 49"/>
                <a:gd name="T44" fmla="*/ 4 w 41"/>
                <a:gd name="T45" fmla="*/ 67 h 4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1"/>
                <a:gd name="T70" fmla="*/ 0 h 49"/>
                <a:gd name="T71" fmla="*/ 41 w 41"/>
                <a:gd name="T72" fmla="*/ 49 h 4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1" h="49">
                  <a:moveTo>
                    <a:pt x="4" y="47"/>
                  </a:moveTo>
                  <a:lnTo>
                    <a:pt x="4" y="34"/>
                  </a:lnTo>
                  <a:lnTo>
                    <a:pt x="2" y="30"/>
                  </a:lnTo>
                  <a:lnTo>
                    <a:pt x="0" y="34"/>
                  </a:lnTo>
                  <a:lnTo>
                    <a:pt x="0" y="19"/>
                  </a:lnTo>
                  <a:lnTo>
                    <a:pt x="0" y="8"/>
                  </a:lnTo>
                  <a:lnTo>
                    <a:pt x="4" y="13"/>
                  </a:lnTo>
                  <a:lnTo>
                    <a:pt x="6" y="4"/>
                  </a:lnTo>
                  <a:lnTo>
                    <a:pt x="15" y="6"/>
                  </a:lnTo>
                  <a:lnTo>
                    <a:pt x="15" y="0"/>
                  </a:lnTo>
                  <a:lnTo>
                    <a:pt x="28" y="0"/>
                  </a:lnTo>
                  <a:lnTo>
                    <a:pt x="32" y="8"/>
                  </a:lnTo>
                  <a:lnTo>
                    <a:pt x="41" y="13"/>
                  </a:lnTo>
                  <a:lnTo>
                    <a:pt x="36" y="19"/>
                  </a:lnTo>
                  <a:lnTo>
                    <a:pt x="30" y="19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28" y="30"/>
                  </a:lnTo>
                  <a:lnTo>
                    <a:pt x="21" y="34"/>
                  </a:lnTo>
                  <a:lnTo>
                    <a:pt x="21" y="43"/>
                  </a:lnTo>
                  <a:lnTo>
                    <a:pt x="21" y="49"/>
                  </a:lnTo>
                  <a:lnTo>
                    <a:pt x="15" y="49"/>
                  </a:lnTo>
                  <a:lnTo>
                    <a:pt x="4" y="4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" name="Freeform 13"/>
            <p:cNvSpPr>
              <a:spLocks noChangeAspect="1"/>
            </p:cNvSpPr>
            <p:nvPr/>
          </p:nvSpPr>
          <p:spPr bwMode="auto">
            <a:xfrm>
              <a:off x="2788" y="1636"/>
              <a:ext cx="21" cy="27"/>
            </a:xfrm>
            <a:custGeom>
              <a:avLst/>
              <a:gdLst>
                <a:gd name="T0" fmla="*/ 114 w 19"/>
                <a:gd name="T1" fmla="*/ 53 h 26"/>
                <a:gd name="T2" fmla="*/ 114 w 19"/>
                <a:gd name="T3" fmla="*/ 53 h 26"/>
                <a:gd name="T4" fmla="*/ 69 w 19"/>
                <a:gd name="T5" fmla="*/ 37 h 26"/>
                <a:gd name="T6" fmla="*/ 0 w 19"/>
                <a:gd name="T7" fmla="*/ 7 h 26"/>
                <a:gd name="T8" fmla="*/ 4 w 19"/>
                <a:gd name="T9" fmla="*/ 7 h 26"/>
                <a:gd name="T10" fmla="*/ 4 w 19"/>
                <a:gd name="T11" fmla="*/ 2 h 26"/>
                <a:gd name="T12" fmla="*/ 69 w 19"/>
                <a:gd name="T13" fmla="*/ 7 h 26"/>
                <a:gd name="T14" fmla="*/ 114 w 19"/>
                <a:gd name="T15" fmla="*/ 2 h 26"/>
                <a:gd name="T16" fmla="*/ 114 w 19"/>
                <a:gd name="T17" fmla="*/ 0 h 26"/>
                <a:gd name="T18" fmla="*/ 154 w 19"/>
                <a:gd name="T19" fmla="*/ 0 h 26"/>
                <a:gd name="T20" fmla="*/ 170 w 19"/>
                <a:gd name="T21" fmla="*/ 9 h 26"/>
                <a:gd name="T22" fmla="*/ 114 w 19"/>
                <a:gd name="T23" fmla="*/ 11 h 26"/>
                <a:gd name="T24" fmla="*/ 154 w 19"/>
                <a:gd name="T25" fmla="*/ 35 h 26"/>
                <a:gd name="T26" fmla="*/ 114 w 19"/>
                <a:gd name="T27" fmla="*/ 37 h 26"/>
                <a:gd name="T28" fmla="*/ 114 w 19"/>
                <a:gd name="T29" fmla="*/ 53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26"/>
                <a:gd name="T47" fmla="*/ 19 w 1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26">
                  <a:moveTo>
                    <a:pt x="13" y="26"/>
                  </a:moveTo>
                  <a:lnTo>
                    <a:pt x="13" y="26"/>
                  </a:lnTo>
                  <a:lnTo>
                    <a:pt x="8" y="1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2"/>
                  </a:lnTo>
                  <a:lnTo>
                    <a:pt x="8" y="7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9" y="9"/>
                  </a:lnTo>
                  <a:lnTo>
                    <a:pt x="13" y="11"/>
                  </a:lnTo>
                  <a:lnTo>
                    <a:pt x="17" y="15"/>
                  </a:lnTo>
                  <a:lnTo>
                    <a:pt x="13" y="17"/>
                  </a:lnTo>
                  <a:lnTo>
                    <a:pt x="13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" name="Freeform 14"/>
            <p:cNvSpPr>
              <a:spLocks noChangeAspect="1"/>
            </p:cNvSpPr>
            <p:nvPr/>
          </p:nvSpPr>
          <p:spPr bwMode="auto">
            <a:xfrm>
              <a:off x="2766" y="1650"/>
              <a:ext cx="14" cy="9"/>
            </a:xfrm>
            <a:custGeom>
              <a:avLst/>
              <a:gdLst>
                <a:gd name="T0" fmla="*/ 62 w 13"/>
                <a:gd name="T1" fmla="*/ 9 h 9"/>
                <a:gd name="T2" fmla="*/ 40 w 13"/>
                <a:gd name="T3" fmla="*/ 9 h 9"/>
                <a:gd name="T4" fmla="*/ 5 w 13"/>
                <a:gd name="T5" fmla="*/ 4 h 9"/>
                <a:gd name="T6" fmla="*/ 0 w 13"/>
                <a:gd name="T7" fmla="*/ 4 h 9"/>
                <a:gd name="T8" fmla="*/ 46 w 13"/>
                <a:gd name="T9" fmla="*/ 0 h 9"/>
                <a:gd name="T10" fmla="*/ 62 w 13"/>
                <a:gd name="T11" fmla="*/ 9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9"/>
                <a:gd name="T20" fmla="*/ 13 w 1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9">
                  <a:moveTo>
                    <a:pt x="13" y="9"/>
                  </a:moveTo>
                  <a:lnTo>
                    <a:pt x="7" y="9"/>
                  </a:lnTo>
                  <a:lnTo>
                    <a:pt x="5" y="4"/>
                  </a:lnTo>
                  <a:lnTo>
                    <a:pt x="0" y="4"/>
                  </a:lnTo>
                  <a:lnTo>
                    <a:pt x="9" y="0"/>
                  </a:lnTo>
                  <a:lnTo>
                    <a:pt x="13" y="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" name="Freeform 15"/>
            <p:cNvSpPr>
              <a:spLocks noChangeAspect="1"/>
            </p:cNvSpPr>
            <p:nvPr/>
          </p:nvSpPr>
          <p:spPr bwMode="auto">
            <a:xfrm>
              <a:off x="2788" y="1663"/>
              <a:ext cx="9" cy="7"/>
            </a:xfrm>
            <a:custGeom>
              <a:avLst/>
              <a:gdLst>
                <a:gd name="T0" fmla="*/ 61 w 8"/>
                <a:gd name="T1" fmla="*/ 7 h 7"/>
                <a:gd name="T2" fmla="*/ 0 w 8"/>
                <a:gd name="T3" fmla="*/ 7 h 7"/>
                <a:gd name="T4" fmla="*/ 2 w 8"/>
                <a:gd name="T5" fmla="*/ 0 h 7"/>
                <a:gd name="T6" fmla="*/ 61 w 8"/>
                <a:gd name="T7" fmla="*/ 2 h 7"/>
                <a:gd name="T8" fmla="*/ 99 w 8"/>
                <a:gd name="T9" fmla="*/ 2 h 7"/>
                <a:gd name="T10" fmla="*/ 99 w 8"/>
                <a:gd name="T11" fmla="*/ 7 h 7"/>
                <a:gd name="T12" fmla="*/ 61 w 8"/>
                <a:gd name="T13" fmla="*/ 7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4" y="7"/>
                  </a:moveTo>
                  <a:lnTo>
                    <a:pt x="0" y="7"/>
                  </a:lnTo>
                  <a:lnTo>
                    <a:pt x="2" y="0"/>
                  </a:lnTo>
                  <a:lnTo>
                    <a:pt x="4" y="2"/>
                  </a:lnTo>
                  <a:lnTo>
                    <a:pt x="8" y="2"/>
                  </a:lnTo>
                  <a:lnTo>
                    <a:pt x="8" y="7"/>
                  </a:lnTo>
                  <a:lnTo>
                    <a:pt x="4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" name="Freeform 16"/>
            <p:cNvSpPr>
              <a:spLocks noChangeAspect="1"/>
            </p:cNvSpPr>
            <p:nvPr/>
          </p:nvSpPr>
          <p:spPr bwMode="auto">
            <a:xfrm>
              <a:off x="2709" y="1663"/>
              <a:ext cx="150" cy="169"/>
            </a:xfrm>
            <a:custGeom>
              <a:avLst/>
              <a:gdLst>
                <a:gd name="T0" fmla="*/ 422 w 135"/>
                <a:gd name="T1" fmla="*/ 2 h 166"/>
                <a:gd name="T2" fmla="*/ 540 w 135"/>
                <a:gd name="T3" fmla="*/ 7 h 166"/>
                <a:gd name="T4" fmla="*/ 540 w 135"/>
                <a:gd name="T5" fmla="*/ 11 h 166"/>
                <a:gd name="T6" fmla="*/ 613 w 135"/>
                <a:gd name="T7" fmla="*/ 15 h 166"/>
                <a:gd name="T8" fmla="*/ 670 w 135"/>
                <a:gd name="T9" fmla="*/ 24 h 166"/>
                <a:gd name="T10" fmla="*/ 774 w 135"/>
                <a:gd name="T11" fmla="*/ 17 h 166"/>
                <a:gd name="T12" fmla="*/ 914 w 135"/>
                <a:gd name="T13" fmla="*/ 15 h 166"/>
                <a:gd name="T14" fmla="*/ 1079 w 135"/>
                <a:gd name="T15" fmla="*/ 24 h 166"/>
                <a:gd name="T16" fmla="*/ 1209 w 135"/>
                <a:gd name="T17" fmla="*/ 59 h 166"/>
                <a:gd name="T18" fmla="*/ 1129 w 135"/>
                <a:gd name="T19" fmla="*/ 68 h 166"/>
                <a:gd name="T20" fmla="*/ 1209 w 135"/>
                <a:gd name="T21" fmla="*/ 76 h 166"/>
                <a:gd name="T22" fmla="*/ 1254 w 135"/>
                <a:gd name="T23" fmla="*/ 91 h 166"/>
                <a:gd name="T24" fmla="*/ 1274 w 135"/>
                <a:gd name="T25" fmla="*/ 117 h 166"/>
                <a:gd name="T26" fmla="*/ 1274 w 135"/>
                <a:gd name="T27" fmla="*/ 126 h 166"/>
                <a:gd name="T28" fmla="*/ 1209 w 135"/>
                <a:gd name="T29" fmla="*/ 131 h 166"/>
                <a:gd name="T30" fmla="*/ 892 w 135"/>
                <a:gd name="T31" fmla="*/ 143 h 166"/>
                <a:gd name="T32" fmla="*/ 892 w 135"/>
                <a:gd name="T33" fmla="*/ 155 h 166"/>
                <a:gd name="T34" fmla="*/ 971 w 135"/>
                <a:gd name="T35" fmla="*/ 169 h 166"/>
                <a:gd name="T36" fmla="*/ 1079 w 135"/>
                <a:gd name="T37" fmla="*/ 181 h 166"/>
                <a:gd name="T38" fmla="*/ 1129 w 135"/>
                <a:gd name="T39" fmla="*/ 198 h 166"/>
                <a:gd name="T40" fmla="*/ 1012 w 135"/>
                <a:gd name="T41" fmla="*/ 211 h 166"/>
                <a:gd name="T42" fmla="*/ 1038 w 135"/>
                <a:gd name="T43" fmla="*/ 231 h 166"/>
                <a:gd name="T44" fmla="*/ 914 w 135"/>
                <a:gd name="T45" fmla="*/ 228 h 166"/>
                <a:gd name="T46" fmla="*/ 836 w 135"/>
                <a:gd name="T47" fmla="*/ 231 h 166"/>
                <a:gd name="T48" fmla="*/ 713 w 135"/>
                <a:gd name="T49" fmla="*/ 231 h 166"/>
                <a:gd name="T50" fmla="*/ 670 w 135"/>
                <a:gd name="T51" fmla="*/ 236 h 166"/>
                <a:gd name="T52" fmla="*/ 540 w 135"/>
                <a:gd name="T53" fmla="*/ 228 h 166"/>
                <a:gd name="T54" fmla="*/ 474 w 135"/>
                <a:gd name="T55" fmla="*/ 228 h 166"/>
                <a:gd name="T56" fmla="*/ 437 w 135"/>
                <a:gd name="T57" fmla="*/ 222 h 166"/>
                <a:gd name="T58" fmla="*/ 379 w 135"/>
                <a:gd name="T59" fmla="*/ 222 h 166"/>
                <a:gd name="T60" fmla="*/ 346 w 135"/>
                <a:gd name="T61" fmla="*/ 231 h 166"/>
                <a:gd name="T62" fmla="*/ 288 w 135"/>
                <a:gd name="T63" fmla="*/ 231 h 166"/>
                <a:gd name="T64" fmla="*/ 224 w 135"/>
                <a:gd name="T65" fmla="*/ 231 h 166"/>
                <a:gd name="T66" fmla="*/ 204 w 135"/>
                <a:gd name="T67" fmla="*/ 219 h 166"/>
                <a:gd name="T68" fmla="*/ 320 w 135"/>
                <a:gd name="T69" fmla="*/ 188 h 166"/>
                <a:gd name="T70" fmla="*/ 78 w 135"/>
                <a:gd name="T71" fmla="*/ 169 h 166"/>
                <a:gd name="T72" fmla="*/ 4 w 135"/>
                <a:gd name="T73" fmla="*/ 155 h 166"/>
                <a:gd name="T74" fmla="*/ 4 w 135"/>
                <a:gd name="T75" fmla="*/ 135 h 166"/>
                <a:gd name="T76" fmla="*/ 63 w 135"/>
                <a:gd name="T77" fmla="*/ 117 h 166"/>
                <a:gd name="T78" fmla="*/ 63 w 135"/>
                <a:gd name="T79" fmla="*/ 91 h 166"/>
                <a:gd name="T80" fmla="*/ 78 w 135"/>
                <a:gd name="T81" fmla="*/ 72 h 166"/>
                <a:gd name="T82" fmla="*/ 189 w 135"/>
                <a:gd name="T83" fmla="*/ 61 h 166"/>
                <a:gd name="T84" fmla="*/ 277 w 135"/>
                <a:gd name="T85" fmla="*/ 50 h 166"/>
                <a:gd name="T86" fmla="*/ 320 w 135"/>
                <a:gd name="T87" fmla="*/ 26 h 166"/>
                <a:gd name="T88" fmla="*/ 346 w 135"/>
                <a:gd name="T89" fmla="*/ 24 h 166"/>
                <a:gd name="T90" fmla="*/ 346 w 135"/>
                <a:gd name="T91" fmla="*/ 17 h 166"/>
                <a:gd name="T92" fmla="*/ 346 w 135"/>
                <a:gd name="T93" fmla="*/ 7 h 166"/>
                <a:gd name="T94" fmla="*/ 277 w 135"/>
                <a:gd name="T95" fmla="*/ 2 h 166"/>
                <a:gd name="T96" fmla="*/ 320 w 135"/>
                <a:gd name="T97" fmla="*/ 0 h 16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35"/>
                <a:gd name="T148" fmla="*/ 0 h 166"/>
                <a:gd name="T149" fmla="*/ 135 w 135"/>
                <a:gd name="T150" fmla="*/ 166 h 16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35" h="166">
                  <a:moveTo>
                    <a:pt x="34" y="0"/>
                  </a:moveTo>
                  <a:lnTo>
                    <a:pt x="43" y="2"/>
                  </a:lnTo>
                  <a:lnTo>
                    <a:pt x="49" y="2"/>
                  </a:lnTo>
                  <a:lnTo>
                    <a:pt x="56" y="7"/>
                  </a:lnTo>
                  <a:lnTo>
                    <a:pt x="56" y="11"/>
                  </a:lnTo>
                  <a:lnTo>
                    <a:pt x="58" y="15"/>
                  </a:lnTo>
                  <a:lnTo>
                    <a:pt x="64" y="15"/>
                  </a:lnTo>
                  <a:lnTo>
                    <a:pt x="71" y="15"/>
                  </a:lnTo>
                  <a:lnTo>
                    <a:pt x="69" y="24"/>
                  </a:lnTo>
                  <a:lnTo>
                    <a:pt x="75" y="24"/>
                  </a:lnTo>
                  <a:lnTo>
                    <a:pt x="79" y="17"/>
                  </a:lnTo>
                  <a:lnTo>
                    <a:pt x="92" y="7"/>
                  </a:lnTo>
                  <a:lnTo>
                    <a:pt x="94" y="15"/>
                  </a:lnTo>
                  <a:lnTo>
                    <a:pt x="107" y="22"/>
                  </a:lnTo>
                  <a:lnTo>
                    <a:pt x="110" y="24"/>
                  </a:lnTo>
                  <a:lnTo>
                    <a:pt x="120" y="30"/>
                  </a:lnTo>
                  <a:lnTo>
                    <a:pt x="125" y="39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25" y="54"/>
                  </a:lnTo>
                  <a:lnTo>
                    <a:pt x="125" y="56"/>
                  </a:lnTo>
                  <a:lnTo>
                    <a:pt x="125" y="67"/>
                  </a:lnTo>
                  <a:lnTo>
                    <a:pt x="129" y="67"/>
                  </a:lnTo>
                  <a:lnTo>
                    <a:pt x="129" y="71"/>
                  </a:lnTo>
                  <a:lnTo>
                    <a:pt x="131" y="80"/>
                  </a:lnTo>
                  <a:lnTo>
                    <a:pt x="135" y="82"/>
                  </a:lnTo>
                  <a:lnTo>
                    <a:pt x="131" y="86"/>
                  </a:lnTo>
                  <a:lnTo>
                    <a:pt x="125" y="86"/>
                  </a:lnTo>
                  <a:lnTo>
                    <a:pt x="125" y="91"/>
                  </a:lnTo>
                  <a:lnTo>
                    <a:pt x="94" y="104"/>
                  </a:lnTo>
                  <a:lnTo>
                    <a:pt x="92" y="102"/>
                  </a:lnTo>
                  <a:lnTo>
                    <a:pt x="92" y="104"/>
                  </a:lnTo>
                  <a:lnTo>
                    <a:pt x="92" y="110"/>
                  </a:lnTo>
                  <a:lnTo>
                    <a:pt x="99" y="112"/>
                  </a:lnTo>
                  <a:lnTo>
                    <a:pt x="99" y="119"/>
                  </a:lnTo>
                  <a:lnTo>
                    <a:pt x="107" y="125"/>
                  </a:lnTo>
                  <a:lnTo>
                    <a:pt x="110" y="127"/>
                  </a:lnTo>
                  <a:lnTo>
                    <a:pt x="116" y="134"/>
                  </a:lnTo>
                  <a:lnTo>
                    <a:pt x="116" y="138"/>
                  </a:lnTo>
                  <a:lnTo>
                    <a:pt x="116" y="145"/>
                  </a:lnTo>
                  <a:lnTo>
                    <a:pt x="103" y="147"/>
                  </a:lnTo>
                  <a:lnTo>
                    <a:pt x="103" y="155"/>
                  </a:lnTo>
                  <a:lnTo>
                    <a:pt x="107" y="162"/>
                  </a:lnTo>
                  <a:lnTo>
                    <a:pt x="103" y="160"/>
                  </a:lnTo>
                  <a:lnTo>
                    <a:pt x="94" y="160"/>
                  </a:lnTo>
                  <a:lnTo>
                    <a:pt x="92" y="162"/>
                  </a:lnTo>
                  <a:lnTo>
                    <a:pt x="86" y="162"/>
                  </a:lnTo>
                  <a:lnTo>
                    <a:pt x="75" y="166"/>
                  </a:lnTo>
                  <a:lnTo>
                    <a:pt x="73" y="162"/>
                  </a:lnTo>
                  <a:lnTo>
                    <a:pt x="69" y="162"/>
                  </a:lnTo>
                  <a:lnTo>
                    <a:pt x="69" y="166"/>
                  </a:lnTo>
                  <a:lnTo>
                    <a:pt x="58" y="162"/>
                  </a:lnTo>
                  <a:lnTo>
                    <a:pt x="56" y="160"/>
                  </a:lnTo>
                  <a:lnTo>
                    <a:pt x="51" y="160"/>
                  </a:lnTo>
                  <a:lnTo>
                    <a:pt x="49" y="160"/>
                  </a:lnTo>
                  <a:lnTo>
                    <a:pt x="45" y="160"/>
                  </a:lnTo>
                  <a:lnTo>
                    <a:pt x="45" y="155"/>
                  </a:lnTo>
                  <a:lnTo>
                    <a:pt x="43" y="155"/>
                  </a:lnTo>
                  <a:lnTo>
                    <a:pt x="38" y="155"/>
                  </a:lnTo>
                  <a:lnTo>
                    <a:pt x="36" y="160"/>
                  </a:lnTo>
                  <a:lnTo>
                    <a:pt x="36" y="162"/>
                  </a:lnTo>
                  <a:lnTo>
                    <a:pt x="34" y="162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53"/>
                  </a:lnTo>
                  <a:lnTo>
                    <a:pt x="28" y="140"/>
                  </a:lnTo>
                  <a:lnTo>
                    <a:pt x="34" y="132"/>
                  </a:lnTo>
                  <a:lnTo>
                    <a:pt x="23" y="127"/>
                  </a:lnTo>
                  <a:lnTo>
                    <a:pt x="8" y="119"/>
                  </a:lnTo>
                  <a:lnTo>
                    <a:pt x="8" y="112"/>
                  </a:lnTo>
                  <a:lnTo>
                    <a:pt x="4" y="110"/>
                  </a:lnTo>
                  <a:lnTo>
                    <a:pt x="6" y="104"/>
                  </a:lnTo>
                  <a:lnTo>
                    <a:pt x="4" y="95"/>
                  </a:lnTo>
                  <a:lnTo>
                    <a:pt x="4" y="86"/>
                  </a:lnTo>
                  <a:lnTo>
                    <a:pt x="6" y="80"/>
                  </a:lnTo>
                  <a:lnTo>
                    <a:pt x="0" y="71"/>
                  </a:lnTo>
                  <a:lnTo>
                    <a:pt x="6" y="67"/>
                  </a:lnTo>
                  <a:lnTo>
                    <a:pt x="10" y="67"/>
                  </a:lnTo>
                  <a:lnTo>
                    <a:pt x="8" y="52"/>
                  </a:lnTo>
                  <a:lnTo>
                    <a:pt x="15" y="52"/>
                  </a:lnTo>
                  <a:lnTo>
                    <a:pt x="19" y="41"/>
                  </a:lnTo>
                  <a:lnTo>
                    <a:pt x="15" y="30"/>
                  </a:lnTo>
                  <a:lnTo>
                    <a:pt x="28" y="30"/>
                  </a:lnTo>
                  <a:lnTo>
                    <a:pt x="30" y="37"/>
                  </a:lnTo>
                  <a:lnTo>
                    <a:pt x="34" y="26"/>
                  </a:lnTo>
                  <a:lnTo>
                    <a:pt x="38" y="26"/>
                  </a:lnTo>
                  <a:lnTo>
                    <a:pt x="36" y="24"/>
                  </a:lnTo>
                  <a:lnTo>
                    <a:pt x="38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6" y="7"/>
                  </a:lnTo>
                  <a:lnTo>
                    <a:pt x="34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" name="Freeform 17"/>
            <p:cNvSpPr>
              <a:spLocks noChangeAspect="1"/>
            </p:cNvSpPr>
            <p:nvPr/>
          </p:nvSpPr>
          <p:spPr bwMode="auto">
            <a:xfrm>
              <a:off x="2907" y="1265"/>
              <a:ext cx="185" cy="277"/>
            </a:xfrm>
            <a:custGeom>
              <a:avLst/>
              <a:gdLst>
                <a:gd name="T0" fmla="*/ 829 w 168"/>
                <a:gd name="T1" fmla="*/ 55 h 272"/>
                <a:gd name="T2" fmla="*/ 913 w 168"/>
                <a:gd name="T3" fmla="*/ 70 h 272"/>
                <a:gd name="T4" fmla="*/ 913 w 168"/>
                <a:gd name="T5" fmla="*/ 102 h 272"/>
                <a:gd name="T6" fmla="*/ 1051 w 168"/>
                <a:gd name="T7" fmla="*/ 176 h 272"/>
                <a:gd name="T8" fmla="*/ 1051 w 168"/>
                <a:gd name="T9" fmla="*/ 190 h 272"/>
                <a:gd name="T10" fmla="*/ 1103 w 168"/>
                <a:gd name="T11" fmla="*/ 200 h 272"/>
                <a:gd name="T12" fmla="*/ 1157 w 168"/>
                <a:gd name="T13" fmla="*/ 215 h 272"/>
                <a:gd name="T14" fmla="*/ 1233 w 168"/>
                <a:gd name="T15" fmla="*/ 247 h 272"/>
                <a:gd name="T16" fmla="*/ 1351 w 168"/>
                <a:gd name="T17" fmla="*/ 262 h 272"/>
                <a:gd name="T18" fmla="*/ 956 w 168"/>
                <a:gd name="T19" fmla="*/ 358 h 272"/>
                <a:gd name="T20" fmla="*/ 769 w 168"/>
                <a:gd name="T21" fmla="*/ 364 h 272"/>
                <a:gd name="T22" fmla="*/ 564 w 168"/>
                <a:gd name="T23" fmla="*/ 377 h 272"/>
                <a:gd name="T24" fmla="*/ 368 w 168"/>
                <a:gd name="T25" fmla="*/ 379 h 272"/>
                <a:gd name="T26" fmla="*/ 411 w 168"/>
                <a:gd name="T27" fmla="*/ 377 h 272"/>
                <a:gd name="T28" fmla="*/ 391 w 168"/>
                <a:gd name="T29" fmla="*/ 377 h 272"/>
                <a:gd name="T30" fmla="*/ 368 w 168"/>
                <a:gd name="T31" fmla="*/ 368 h 272"/>
                <a:gd name="T32" fmla="*/ 261 w 168"/>
                <a:gd name="T33" fmla="*/ 364 h 272"/>
                <a:gd name="T34" fmla="*/ 206 w 168"/>
                <a:gd name="T35" fmla="*/ 345 h 272"/>
                <a:gd name="T36" fmla="*/ 206 w 168"/>
                <a:gd name="T37" fmla="*/ 330 h 272"/>
                <a:gd name="T38" fmla="*/ 187 w 168"/>
                <a:gd name="T39" fmla="*/ 307 h 272"/>
                <a:gd name="T40" fmla="*/ 175 w 168"/>
                <a:gd name="T41" fmla="*/ 282 h 272"/>
                <a:gd name="T42" fmla="*/ 206 w 168"/>
                <a:gd name="T43" fmla="*/ 262 h 272"/>
                <a:gd name="T44" fmla="*/ 287 w 168"/>
                <a:gd name="T45" fmla="*/ 258 h 272"/>
                <a:gd name="T46" fmla="*/ 303 w 168"/>
                <a:gd name="T47" fmla="*/ 247 h 272"/>
                <a:gd name="T48" fmla="*/ 368 w 168"/>
                <a:gd name="T49" fmla="*/ 239 h 272"/>
                <a:gd name="T50" fmla="*/ 453 w 168"/>
                <a:gd name="T51" fmla="*/ 209 h 272"/>
                <a:gd name="T52" fmla="*/ 512 w 168"/>
                <a:gd name="T53" fmla="*/ 190 h 272"/>
                <a:gd name="T54" fmla="*/ 561 w 168"/>
                <a:gd name="T55" fmla="*/ 184 h 272"/>
                <a:gd name="T56" fmla="*/ 491 w 168"/>
                <a:gd name="T57" fmla="*/ 161 h 272"/>
                <a:gd name="T58" fmla="*/ 411 w 168"/>
                <a:gd name="T59" fmla="*/ 154 h 272"/>
                <a:gd name="T60" fmla="*/ 368 w 168"/>
                <a:gd name="T61" fmla="*/ 135 h 272"/>
                <a:gd name="T62" fmla="*/ 334 w 168"/>
                <a:gd name="T63" fmla="*/ 106 h 272"/>
                <a:gd name="T64" fmla="*/ 368 w 168"/>
                <a:gd name="T65" fmla="*/ 96 h 272"/>
                <a:gd name="T66" fmla="*/ 303 w 168"/>
                <a:gd name="T67" fmla="*/ 74 h 272"/>
                <a:gd name="T68" fmla="*/ 175 w 168"/>
                <a:gd name="T69" fmla="*/ 64 h 272"/>
                <a:gd name="T70" fmla="*/ 0 w 168"/>
                <a:gd name="T71" fmla="*/ 48 h 272"/>
                <a:gd name="T72" fmla="*/ 4 w 168"/>
                <a:gd name="T73" fmla="*/ 48 h 272"/>
                <a:gd name="T74" fmla="*/ 4 w 168"/>
                <a:gd name="T75" fmla="*/ 22 h 272"/>
                <a:gd name="T76" fmla="*/ 187 w 168"/>
                <a:gd name="T77" fmla="*/ 55 h 272"/>
                <a:gd name="T78" fmla="*/ 303 w 168"/>
                <a:gd name="T79" fmla="*/ 55 h 272"/>
                <a:gd name="T80" fmla="*/ 391 w 168"/>
                <a:gd name="T81" fmla="*/ 55 h 272"/>
                <a:gd name="T82" fmla="*/ 453 w 168"/>
                <a:gd name="T83" fmla="*/ 59 h 272"/>
                <a:gd name="T84" fmla="*/ 512 w 168"/>
                <a:gd name="T85" fmla="*/ 53 h 272"/>
                <a:gd name="T86" fmla="*/ 512 w 168"/>
                <a:gd name="T87" fmla="*/ 13 h 272"/>
                <a:gd name="T88" fmla="*/ 605 w 168"/>
                <a:gd name="T89" fmla="*/ 5 h 272"/>
                <a:gd name="T90" fmla="*/ 704 w 168"/>
                <a:gd name="T91" fmla="*/ 0 h 272"/>
                <a:gd name="T92" fmla="*/ 796 w 168"/>
                <a:gd name="T93" fmla="*/ 7 h 272"/>
                <a:gd name="T94" fmla="*/ 829 w 168"/>
                <a:gd name="T95" fmla="*/ 20 h 27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8"/>
                <a:gd name="T145" fmla="*/ 0 h 272"/>
                <a:gd name="T146" fmla="*/ 168 w 168"/>
                <a:gd name="T147" fmla="*/ 272 h 27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8" h="272">
                  <a:moveTo>
                    <a:pt x="99" y="28"/>
                  </a:moveTo>
                  <a:lnTo>
                    <a:pt x="103" y="35"/>
                  </a:lnTo>
                  <a:lnTo>
                    <a:pt x="105" y="44"/>
                  </a:lnTo>
                  <a:lnTo>
                    <a:pt x="114" y="50"/>
                  </a:lnTo>
                  <a:lnTo>
                    <a:pt x="120" y="54"/>
                  </a:lnTo>
                  <a:lnTo>
                    <a:pt x="114" y="72"/>
                  </a:lnTo>
                  <a:lnTo>
                    <a:pt x="133" y="104"/>
                  </a:lnTo>
                  <a:lnTo>
                    <a:pt x="129" y="123"/>
                  </a:lnTo>
                  <a:lnTo>
                    <a:pt x="129" y="128"/>
                  </a:lnTo>
                  <a:lnTo>
                    <a:pt x="129" y="132"/>
                  </a:lnTo>
                  <a:lnTo>
                    <a:pt x="136" y="132"/>
                  </a:lnTo>
                  <a:lnTo>
                    <a:pt x="136" y="138"/>
                  </a:lnTo>
                  <a:lnTo>
                    <a:pt x="136" y="145"/>
                  </a:lnTo>
                  <a:lnTo>
                    <a:pt x="142" y="149"/>
                  </a:lnTo>
                  <a:lnTo>
                    <a:pt x="140" y="164"/>
                  </a:lnTo>
                  <a:lnTo>
                    <a:pt x="153" y="173"/>
                  </a:lnTo>
                  <a:lnTo>
                    <a:pt x="157" y="175"/>
                  </a:lnTo>
                  <a:lnTo>
                    <a:pt x="168" y="182"/>
                  </a:lnTo>
                  <a:lnTo>
                    <a:pt x="149" y="212"/>
                  </a:lnTo>
                  <a:lnTo>
                    <a:pt x="118" y="249"/>
                  </a:lnTo>
                  <a:lnTo>
                    <a:pt x="112" y="253"/>
                  </a:lnTo>
                  <a:lnTo>
                    <a:pt x="95" y="253"/>
                  </a:lnTo>
                  <a:lnTo>
                    <a:pt x="84" y="259"/>
                  </a:lnTo>
                  <a:lnTo>
                    <a:pt x="71" y="262"/>
                  </a:lnTo>
                  <a:lnTo>
                    <a:pt x="54" y="272"/>
                  </a:lnTo>
                  <a:lnTo>
                    <a:pt x="45" y="264"/>
                  </a:lnTo>
                  <a:lnTo>
                    <a:pt x="45" y="262"/>
                  </a:lnTo>
                  <a:lnTo>
                    <a:pt x="51" y="262"/>
                  </a:lnTo>
                  <a:lnTo>
                    <a:pt x="51" y="255"/>
                  </a:lnTo>
                  <a:lnTo>
                    <a:pt x="49" y="262"/>
                  </a:lnTo>
                  <a:lnTo>
                    <a:pt x="45" y="259"/>
                  </a:lnTo>
                  <a:lnTo>
                    <a:pt x="45" y="255"/>
                  </a:lnTo>
                  <a:lnTo>
                    <a:pt x="38" y="253"/>
                  </a:lnTo>
                  <a:lnTo>
                    <a:pt x="32" y="253"/>
                  </a:lnTo>
                  <a:lnTo>
                    <a:pt x="30" y="249"/>
                  </a:lnTo>
                  <a:lnTo>
                    <a:pt x="26" y="240"/>
                  </a:lnTo>
                  <a:lnTo>
                    <a:pt x="30" y="238"/>
                  </a:lnTo>
                  <a:lnTo>
                    <a:pt x="26" y="229"/>
                  </a:lnTo>
                  <a:lnTo>
                    <a:pt x="30" y="229"/>
                  </a:lnTo>
                  <a:lnTo>
                    <a:pt x="23" y="214"/>
                  </a:lnTo>
                  <a:lnTo>
                    <a:pt x="21" y="197"/>
                  </a:lnTo>
                  <a:lnTo>
                    <a:pt x="21" y="195"/>
                  </a:lnTo>
                  <a:lnTo>
                    <a:pt x="26" y="188"/>
                  </a:lnTo>
                  <a:lnTo>
                    <a:pt x="26" y="182"/>
                  </a:lnTo>
                  <a:lnTo>
                    <a:pt x="30" y="182"/>
                  </a:lnTo>
                  <a:lnTo>
                    <a:pt x="36" y="180"/>
                  </a:lnTo>
                  <a:lnTo>
                    <a:pt x="32" y="175"/>
                  </a:lnTo>
                  <a:lnTo>
                    <a:pt x="38" y="173"/>
                  </a:lnTo>
                  <a:lnTo>
                    <a:pt x="38" y="169"/>
                  </a:lnTo>
                  <a:lnTo>
                    <a:pt x="45" y="167"/>
                  </a:lnTo>
                  <a:lnTo>
                    <a:pt x="49" y="158"/>
                  </a:lnTo>
                  <a:lnTo>
                    <a:pt x="56" y="145"/>
                  </a:lnTo>
                  <a:lnTo>
                    <a:pt x="60" y="138"/>
                  </a:lnTo>
                  <a:lnTo>
                    <a:pt x="64" y="132"/>
                  </a:lnTo>
                  <a:lnTo>
                    <a:pt x="71" y="132"/>
                  </a:lnTo>
                  <a:lnTo>
                    <a:pt x="69" y="128"/>
                  </a:lnTo>
                  <a:lnTo>
                    <a:pt x="69" y="117"/>
                  </a:lnTo>
                  <a:lnTo>
                    <a:pt x="60" y="113"/>
                  </a:lnTo>
                  <a:lnTo>
                    <a:pt x="56" y="108"/>
                  </a:lnTo>
                  <a:lnTo>
                    <a:pt x="51" y="108"/>
                  </a:lnTo>
                  <a:lnTo>
                    <a:pt x="49" y="104"/>
                  </a:lnTo>
                  <a:lnTo>
                    <a:pt x="45" y="95"/>
                  </a:lnTo>
                  <a:lnTo>
                    <a:pt x="49" y="80"/>
                  </a:lnTo>
                  <a:lnTo>
                    <a:pt x="41" y="74"/>
                  </a:lnTo>
                  <a:lnTo>
                    <a:pt x="41" y="72"/>
                  </a:lnTo>
                  <a:lnTo>
                    <a:pt x="45" y="69"/>
                  </a:lnTo>
                  <a:lnTo>
                    <a:pt x="38" y="65"/>
                  </a:lnTo>
                  <a:lnTo>
                    <a:pt x="38" y="54"/>
                  </a:lnTo>
                  <a:lnTo>
                    <a:pt x="30" y="44"/>
                  </a:lnTo>
                  <a:lnTo>
                    <a:pt x="21" y="44"/>
                  </a:lnTo>
                  <a:lnTo>
                    <a:pt x="8" y="39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8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15" y="24"/>
                  </a:lnTo>
                  <a:lnTo>
                    <a:pt x="23" y="35"/>
                  </a:lnTo>
                  <a:lnTo>
                    <a:pt x="32" y="35"/>
                  </a:lnTo>
                  <a:lnTo>
                    <a:pt x="38" y="35"/>
                  </a:lnTo>
                  <a:lnTo>
                    <a:pt x="41" y="33"/>
                  </a:lnTo>
                  <a:lnTo>
                    <a:pt x="49" y="35"/>
                  </a:lnTo>
                  <a:lnTo>
                    <a:pt x="54" y="39"/>
                  </a:lnTo>
                  <a:lnTo>
                    <a:pt x="56" y="39"/>
                  </a:lnTo>
                  <a:lnTo>
                    <a:pt x="56" y="33"/>
                  </a:lnTo>
                  <a:lnTo>
                    <a:pt x="64" y="33"/>
                  </a:lnTo>
                  <a:lnTo>
                    <a:pt x="64" y="22"/>
                  </a:lnTo>
                  <a:lnTo>
                    <a:pt x="64" y="13"/>
                  </a:lnTo>
                  <a:lnTo>
                    <a:pt x="69" y="5"/>
                  </a:lnTo>
                  <a:lnTo>
                    <a:pt x="75" y="5"/>
                  </a:lnTo>
                  <a:lnTo>
                    <a:pt x="79" y="5"/>
                  </a:lnTo>
                  <a:lnTo>
                    <a:pt x="88" y="0"/>
                  </a:lnTo>
                  <a:lnTo>
                    <a:pt x="90" y="5"/>
                  </a:lnTo>
                  <a:lnTo>
                    <a:pt x="99" y="7"/>
                  </a:lnTo>
                  <a:lnTo>
                    <a:pt x="105" y="13"/>
                  </a:lnTo>
                  <a:lnTo>
                    <a:pt x="103" y="20"/>
                  </a:lnTo>
                  <a:lnTo>
                    <a:pt x="99" y="2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" name="Freeform 18"/>
            <p:cNvSpPr>
              <a:spLocks noChangeAspect="1"/>
            </p:cNvSpPr>
            <p:nvPr/>
          </p:nvSpPr>
          <p:spPr bwMode="auto">
            <a:xfrm>
              <a:off x="2528" y="1750"/>
              <a:ext cx="219" cy="183"/>
            </a:xfrm>
            <a:custGeom>
              <a:avLst/>
              <a:gdLst>
                <a:gd name="T0" fmla="*/ 913 w 199"/>
                <a:gd name="T1" fmla="*/ 5 h 180"/>
                <a:gd name="T2" fmla="*/ 989 w 199"/>
                <a:gd name="T3" fmla="*/ 5 h 180"/>
                <a:gd name="T4" fmla="*/ 1023 w 199"/>
                <a:gd name="T5" fmla="*/ 13 h 180"/>
                <a:gd name="T6" fmla="*/ 1156 w 199"/>
                <a:gd name="T7" fmla="*/ 20 h 180"/>
                <a:gd name="T8" fmla="*/ 1258 w 199"/>
                <a:gd name="T9" fmla="*/ 53 h 180"/>
                <a:gd name="T10" fmla="*/ 1345 w 199"/>
                <a:gd name="T11" fmla="*/ 53 h 180"/>
                <a:gd name="T12" fmla="*/ 1482 w 199"/>
                <a:gd name="T13" fmla="*/ 61 h 180"/>
                <a:gd name="T14" fmla="*/ 1535 w 199"/>
                <a:gd name="T15" fmla="*/ 74 h 180"/>
                <a:gd name="T16" fmla="*/ 1477 w 199"/>
                <a:gd name="T17" fmla="*/ 97 h 180"/>
                <a:gd name="T18" fmla="*/ 1420 w 199"/>
                <a:gd name="T19" fmla="*/ 109 h 180"/>
                <a:gd name="T20" fmla="*/ 1345 w 199"/>
                <a:gd name="T21" fmla="*/ 138 h 180"/>
                <a:gd name="T22" fmla="*/ 1375 w 199"/>
                <a:gd name="T23" fmla="*/ 138 h 180"/>
                <a:gd name="T24" fmla="*/ 1460 w 199"/>
                <a:gd name="T25" fmla="*/ 148 h 180"/>
                <a:gd name="T26" fmla="*/ 1460 w 199"/>
                <a:gd name="T27" fmla="*/ 169 h 180"/>
                <a:gd name="T28" fmla="*/ 1420 w 199"/>
                <a:gd name="T29" fmla="*/ 177 h 180"/>
                <a:gd name="T30" fmla="*/ 1482 w 199"/>
                <a:gd name="T31" fmla="*/ 202 h 180"/>
                <a:gd name="T32" fmla="*/ 1535 w 199"/>
                <a:gd name="T33" fmla="*/ 208 h 180"/>
                <a:gd name="T34" fmla="*/ 1482 w 199"/>
                <a:gd name="T35" fmla="*/ 215 h 180"/>
                <a:gd name="T36" fmla="*/ 1477 w 199"/>
                <a:gd name="T37" fmla="*/ 215 h 180"/>
                <a:gd name="T38" fmla="*/ 1420 w 199"/>
                <a:gd name="T39" fmla="*/ 220 h 180"/>
                <a:gd name="T40" fmla="*/ 1375 w 199"/>
                <a:gd name="T41" fmla="*/ 235 h 180"/>
                <a:gd name="T42" fmla="*/ 1239 w 199"/>
                <a:gd name="T43" fmla="*/ 228 h 180"/>
                <a:gd name="T44" fmla="*/ 1172 w 199"/>
                <a:gd name="T45" fmla="*/ 223 h 180"/>
                <a:gd name="T46" fmla="*/ 1126 w 199"/>
                <a:gd name="T47" fmla="*/ 220 h 180"/>
                <a:gd name="T48" fmla="*/ 1063 w 199"/>
                <a:gd name="T49" fmla="*/ 220 h 180"/>
                <a:gd name="T50" fmla="*/ 965 w 199"/>
                <a:gd name="T51" fmla="*/ 235 h 180"/>
                <a:gd name="T52" fmla="*/ 913 w 199"/>
                <a:gd name="T53" fmla="*/ 249 h 180"/>
                <a:gd name="T54" fmla="*/ 727 w 199"/>
                <a:gd name="T55" fmla="*/ 240 h 180"/>
                <a:gd name="T56" fmla="*/ 674 w 199"/>
                <a:gd name="T57" fmla="*/ 240 h 180"/>
                <a:gd name="T58" fmla="*/ 423 w 199"/>
                <a:gd name="T59" fmla="*/ 235 h 180"/>
                <a:gd name="T60" fmla="*/ 423 w 199"/>
                <a:gd name="T61" fmla="*/ 189 h 180"/>
                <a:gd name="T62" fmla="*/ 423 w 199"/>
                <a:gd name="T63" fmla="*/ 180 h 180"/>
                <a:gd name="T64" fmla="*/ 494 w 199"/>
                <a:gd name="T65" fmla="*/ 169 h 180"/>
                <a:gd name="T66" fmla="*/ 423 w 199"/>
                <a:gd name="T67" fmla="*/ 154 h 180"/>
                <a:gd name="T68" fmla="*/ 322 w 199"/>
                <a:gd name="T69" fmla="*/ 127 h 180"/>
                <a:gd name="T70" fmla="*/ 280 w 199"/>
                <a:gd name="T71" fmla="*/ 105 h 180"/>
                <a:gd name="T72" fmla="*/ 74 w 199"/>
                <a:gd name="T73" fmla="*/ 89 h 180"/>
                <a:gd name="T74" fmla="*/ 74 w 199"/>
                <a:gd name="T75" fmla="*/ 83 h 180"/>
                <a:gd name="T76" fmla="*/ 89 w 199"/>
                <a:gd name="T77" fmla="*/ 79 h 180"/>
                <a:gd name="T78" fmla="*/ 0 w 199"/>
                <a:gd name="T79" fmla="*/ 79 h 180"/>
                <a:gd name="T80" fmla="*/ 108 w 199"/>
                <a:gd name="T81" fmla="*/ 70 h 180"/>
                <a:gd name="T82" fmla="*/ 200 w 199"/>
                <a:gd name="T83" fmla="*/ 70 h 180"/>
                <a:gd name="T84" fmla="*/ 308 w 199"/>
                <a:gd name="T85" fmla="*/ 74 h 180"/>
                <a:gd name="T86" fmla="*/ 390 w 199"/>
                <a:gd name="T87" fmla="*/ 74 h 180"/>
                <a:gd name="T88" fmla="*/ 349 w 199"/>
                <a:gd name="T89" fmla="*/ 28 h 180"/>
                <a:gd name="T90" fmla="*/ 451 w 199"/>
                <a:gd name="T91" fmla="*/ 28 h 180"/>
                <a:gd name="T92" fmla="*/ 494 w 199"/>
                <a:gd name="T93" fmla="*/ 59 h 180"/>
                <a:gd name="T94" fmla="*/ 595 w 199"/>
                <a:gd name="T95" fmla="*/ 53 h 180"/>
                <a:gd name="T96" fmla="*/ 727 w 199"/>
                <a:gd name="T97" fmla="*/ 26 h 180"/>
                <a:gd name="T98" fmla="*/ 754 w 199"/>
                <a:gd name="T99" fmla="*/ 5 h 18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99"/>
                <a:gd name="T151" fmla="*/ 0 h 180"/>
                <a:gd name="T152" fmla="*/ 199 w 199"/>
                <a:gd name="T153" fmla="*/ 180 h 18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99" h="180">
                  <a:moveTo>
                    <a:pt x="115" y="0"/>
                  </a:moveTo>
                  <a:lnTo>
                    <a:pt x="115" y="5"/>
                  </a:lnTo>
                  <a:lnTo>
                    <a:pt x="121" y="9"/>
                  </a:lnTo>
                  <a:lnTo>
                    <a:pt x="124" y="5"/>
                  </a:lnTo>
                  <a:lnTo>
                    <a:pt x="128" y="11"/>
                  </a:lnTo>
                  <a:lnTo>
                    <a:pt x="130" y="13"/>
                  </a:lnTo>
                  <a:lnTo>
                    <a:pt x="143" y="26"/>
                  </a:lnTo>
                  <a:lnTo>
                    <a:pt x="145" y="20"/>
                  </a:lnTo>
                  <a:lnTo>
                    <a:pt x="149" y="28"/>
                  </a:lnTo>
                  <a:lnTo>
                    <a:pt x="158" y="33"/>
                  </a:lnTo>
                  <a:lnTo>
                    <a:pt x="160" y="33"/>
                  </a:lnTo>
                  <a:lnTo>
                    <a:pt x="169" y="33"/>
                  </a:lnTo>
                  <a:lnTo>
                    <a:pt x="173" y="33"/>
                  </a:lnTo>
                  <a:lnTo>
                    <a:pt x="188" y="41"/>
                  </a:lnTo>
                  <a:lnTo>
                    <a:pt x="199" y="44"/>
                  </a:lnTo>
                  <a:lnTo>
                    <a:pt x="193" y="54"/>
                  </a:lnTo>
                  <a:lnTo>
                    <a:pt x="186" y="65"/>
                  </a:lnTo>
                  <a:lnTo>
                    <a:pt x="186" y="74"/>
                  </a:lnTo>
                  <a:lnTo>
                    <a:pt x="180" y="74"/>
                  </a:lnTo>
                  <a:lnTo>
                    <a:pt x="180" y="80"/>
                  </a:lnTo>
                  <a:lnTo>
                    <a:pt x="173" y="87"/>
                  </a:lnTo>
                  <a:lnTo>
                    <a:pt x="169" y="98"/>
                  </a:lnTo>
                  <a:lnTo>
                    <a:pt x="169" y="100"/>
                  </a:lnTo>
                  <a:lnTo>
                    <a:pt x="173" y="98"/>
                  </a:lnTo>
                  <a:lnTo>
                    <a:pt x="180" y="104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84" y="123"/>
                  </a:lnTo>
                  <a:lnTo>
                    <a:pt x="175" y="123"/>
                  </a:lnTo>
                  <a:lnTo>
                    <a:pt x="180" y="128"/>
                  </a:lnTo>
                  <a:lnTo>
                    <a:pt x="184" y="143"/>
                  </a:lnTo>
                  <a:lnTo>
                    <a:pt x="188" y="145"/>
                  </a:lnTo>
                  <a:lnTo>
                    <a:pt x="195" y="145"/>
                  </a:lnTo>
                  <a:lnTo>
                    <a:pt x="193" y="149"/>
                  </a:lnTo>
                  <a:lnTo>
                    <a:pt x="193" y="151"/>
                  </a:lnTo>
                  <a:lnTo>
                    <a:pt x="188" y="154"/>
                  </a:lnTo>
                  <a:lnTo>
                    <a:pt x="186" y="151"/>
                  </a:lnTo>
                  <a:lnTo>
                    <a:pt x="186" y="154"/>
                  </a:lnTo>
                  <a:lnTo>
                    <a:pt x="186" y="158"/>
                  </a:lnTo>
                  <a:lnTo>
                    <a:pt x="180" y="158"/>
                  </a:lnTo>
                  <a:lnTo>
                    <a:pt x="173" y="160"/>
                  </a:lnTo>
                  <a:lnTo>
                    <a:pt x="173" y="169"/>
                  </a:lnTo>
                  <a:lnTo>
                    <a:pt x="160" y="169"/>
                  </a:lnTo>
                  <a:lnTo>
                    <a:pt x="156" y="164"/>
                  </a:lnTo>
                  <a:lnTo>
                    <a:pt x="154" y="160"/>
                  </a:lnTo>
                  <a:lnTo>
                    <a:pt x="149" y="160"/>
                  </a:lnTo>
                  <a:lnTo>
                    <a:pt x="143" y="160"/>
                  </a:lnTo>
                  <a:lnTo>
                    <a:pt x="143" y="158"/>
                  </a:lnTo>
                  <a:lnTo>
                    <a:pt x="136" y="158"/>
                  </a:lnTo>
                  <a:lnTo>
                    <a:pt x="134" y="158"/>
                  </a:lnTo>
                  <a:lnTo>
                    <a:pt x="130" y="160"/>
                  </a:lnTo>
                  <a:lnTo>
                    <a:pt x="121" y="169"/>
                  </a:lnTo>
                  <a:lnTo>
                    <a:pt x="121" y="177"/>
                  </a:lnTo>
                  <a:lnTo>
                    <a:pt x="115" y="180"/>
                  </a:lnTo>
                  <a:lnTo>
                    <a:pt x="106" y="177"/>
                  </a:lnTo>
                  <a:lnTo>
                    <a:pt x="93" y="173"/>
                  </a:lnTo>
                  <a:lnTo>
                    <a:pt x="85" y="169"/>
                  </a:lnTo>
                  <a:lnTo>
                    <a:pt x="85" y="173"/>
                  </a:lnTo>
                  <a:lnTo>
                    <a:pt x="74" y="173"/>
                  </a:lnTo>
                  <a:lnTo>
                    <a:pt x="54" y="169"/>
                  </a:lnTo>
                  <a:lnTo>
                    <a:pt x="48" y="158"/>
                  </a:lnTo>
                  <a:lnTo>
                    <a:pt x="54" y="136"/>
                  </a:lnTo>
                  <a:lnTo>
                    <a:pt x="57" y="134"/>
                  </a:lnTo>
                  <a:lnTo>
                    <a:pt x="54" y="130"/>
                  </a:lnTo>
                  <a:lnTo>
                    <a:pt x="57" y="115"/>
                  </a:lnTo>
                  <a:lnTo>
                    <a:pt x="63" y="123"/>
                  </a:lnTo>
                  <a:lnTo>
                    <a:pt x="59" y="115"/>
                  </a:lnTo>
                  <a:lnTo>
                    <a:pt x="54" y="113"/>
                  </a:lnTo>
                  <a:lnTo>
                    <a:pt x="54" y="104"/>
                  </a:lnTo>
                  <a:lnTo>
                    <a:pt x="41" y="89"/>
                  </a:lnTo>
                  <a:lnTo>
                    <a:pt x="41" y="80"/>
                  </a:lnTo>
                  <a:lnTo>
                    <a:pt x="35" y="78"/>
                  </a:lnTo>
                  <a:lnTo>
                    <a:pt x="26" y="74"/>
                  </a:lnTo>
                  <a:lnTo>
                    <a:pt x="9" y="69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5" y="59"/>
                  </a:lnTo>
                  <a:lnTo>
                    <a:pt x="11" y="59"/>
                  </a:lnTo>
                  <a:lnTo>
                    <a:pt x="9" y="59"/>
                  </a:lnTo>
                  <a:lnTo>
                    <a:pt x="0" y="59"/>
                  </a:lnTo>
                  <a:lnTo>
                    <a:pt x="5" y="54"/>
                  </a:lnTo>
                  <a:lnTo>
                    <a:pt x="13" y="50"/>
                  </a:lnTo>
                  <a:lnTo>
                    <a:pt x="20" y="50"/>
                  </a:lnTo>
                  <a:lnTo>
                    <a:pt x="26" y="50"/>
                  </a:lnTo>
                  <a:lnTo>
                    <a:pt x="35" y="59"/>
                  </a:lnTo>
                  <a:lnTo>
                    <a:pt x="39" y="54"/>
                  </a:lnTo>
                  <a:lnTo>
                    <a:pt x="44" y="54"/>
                  </a:lnTo>
                  <a:lnTo>
                    <a:pt x="50" y="54"/>
                  </a:lnTo>
                  <a:lnTo>
                    <a:pt x="48" y="41"/>
                  </a:lnTo>
                  <a:lnTo>
                    <a:pt x="44" y="28"/>
                  </a:lnTo>
                  <a:lnTo>
                    <a:pt x="50" y="28"/>
                  </a:lnTo>
                  <a:lnTo>
                    <a:pt x="57" y="28"/>
                  </a:lnTo>
                  <a:lnTo>
                    <a:pt x="57" y="35"/>
                  </a:lnTo>
                  <a:lnTo>
                    <a:pt x="63" y="39"/>
                  </a:lnTo>
                  <a:lnTo>
                    <a:pt x="72" y="39"/>
                  </a:lnTo>
                  <a:lnTo>
                    <a:pt x="74" y="33"/>
                  </a:lnTo>
                  <a:lnTo>
                    <a:pt x="80" y="28"/>
                  </a:lnTo>
                  <a:lnTo>
                    <a:pt x="93" y="26"/>
                  </a:lnTo>
                  <a:lnTo>
                    <a:pt x="95" y="20"/>
                  </a:lnTo>
                  <a:lnTo>
                    <a:pt x="95" y="5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" name="Freeform 20"/>
            <p:cNvSpPr>
              <a:spLocks noChangeAspect="1"/>
            </p:cNvSpPr>
            <p:nvPr/>
          </p:nvSpPr>
          <p:spPr bwMode="auto">
            <a:xfrm>
              <a:off x="2755" y="1922"/>
              <a:ext cx="20" cy="33"/>
            </a:xfrm>
            <a:custGeom>
              <a:avLst/>
              <a:gdLst>
                <a:gd name="T0" fmla="*/ 35 w 19"/>
                <a:gd name="T1" fmla="*/ 0 h 32"/>
                <a:gd name="T2" fmla="*/ 45 w 19"/>
                <a:gd name="T3" fmla="*/ 0 h 32"/>
                <a:gd name="T4" fmla="*/ 45 w 19"/>
                <a:gd name="T5" fmla="*/ 2 h 32"/>
                <a:gd name="T6" fmla="*/ 45 w 19"/>
                <a:gd name="T7" fmla="*/ 6 h 32"/>
                <a:gd name="T8" fmla="*/ 55 w 19"/>
                <a:gd name="T9" fmla="*/ 8 h 32"/>
                <a:gd name="T10" fmla="*/ 55 w 19"/>
                <a:gd name="T11" fmla="*/ 15 h 32"/>
                <a:gd name="T12" fmla="*/ 55 w 19"/>
                <a:gd name="T13" fmla="*/ 37 h 32"/>
                <a:gd name="T14" fmla="*/ 45 w 19"/>
                <a:gd name="T15" fmla="*/ 41 h 32"/>
                <a:gd name="T16" fmla="*/ 45 w 19"/>
                <a:gd name="T17" fmla="*/ 44 h 32"/>
                <a:gd name="T18" fmla="*/ 45 w 19"/>
                <a:gd name="T19" fmla="*/ 46 h 32"/>
                <a:gd name="T20" fmla="*/ 35 w 19"/>
                <a:gd name="T21" fmla="*/ 51 h 32"/>
                <a:gd name="T22" fmla="*/ 35 w 19"/>
                <a:gd name="T23" fmla="*/ 55 h 32"/>
                <a:gd name="T24" fmla="*/ 8 w 19"/>
                <a:gd name="T25" fmla="*/ 55 h 32"/>
                <a:gd name="T26" fmla="*/ 6 w 19"/>
                <a:gd name="T27" fmla="*/ 55 h 32"/>
                <a:gd name="T28" fmla="*/ 4 w 19"/>
                <a:gd name="T29" fmla="*/ 51 h 32"/>
                <a:gd name="T30" fmla="*/ 6 w 19"/>
                <a:gd name="T31" fmla="*/ 51 h 32"/>
                <a:gd name="T32" fmla="*/ 6 w 19"/>
                <a:gd name="T33" fmla="*/ 46 h 32"/>
                <a:gd name="T34" fmla="*/ 4 w 19"/>
                <a:gd name="T35" fmla="*/ 46 h 32"/>
                <a:gd name="T36" fmla="*/ 4 w 19"/>
                <a:gd name="T37" fmla="*/ 44 h 32"/>
                <a:gd name="T38" fmla="*/ 0 w 19"/>
                <a:gd name="T39" fmla="*/ 44 h 32"/>
                <a:gd name="T40" fmla="*/ 4 w 19"/>
                <a:gd name="T41" fmla="*/ 41 h 32"/>
                <a:gd name="T42" fmla="*/ 4 w 19"/>
                <a:gd name="T43" fmla="*/ 37 h 32"/>
                <a:gd name="T44" fmla="*/ 0 w 19"/>
                <a:gd name="T45" fmla="*/ 37 h 32"/>
                <a:gd name="T46" fmla="*/ 0 w 19"/>
                <a:gd name="T47" fmla="*/ 15 h 32"/>
                <a:gd name="T48" fmla="*/ 4 w 19"/>
                <a:gd name="T49" fmla="*/ 15 h 32"/>
                <a:gd name="T50" fmla="*/ 0 w 19"/>
                <a:gd name="T51" fmla="*/ 11 h 32"/>
                <a:gd name="T52" fmla="*/ 4 w 19"/>
                <a:gd name="T53" fmla="*/ 11 h 32"/>
                <a:gd name="T54" fmla="*/ 4 w 19"/>
                <a:gd name="T55" fmla="*/ 8 h 32"/>
                <a:gd name="T56" fmla="*/ 6 w 19"/>
                <a:gd name="T57" fmla="*/ 6 h 32"/>
                <a:gd name="T58" fmla="*/ 8 w 19"/>
                <a:gd name="T59" fmla="*/ 6 h 32"/>
                <a:gd name="T60" fmla="*/ 35 w 19"/>
                <a:gd name="T61" fmla="*/ 6 h 32"/>
                <a:gd name="T62" fmla="*/ 35 w 19"/>
                <a:gd name="T63" fmla="*/ 2 h 32"/>
                <a:gd name="T64" fmla="*/ 35 w 19"/>
                <a:gd name="T65" fmla="*/ 0 h 3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"/>
                <a:gd name="T100" fmla="*/ 0 h 32"/>
                <a:gd name="T101" fmla="*/ 19 w 19"/>
                <a:gd name="T102" fmla="*/ 32 h 3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" h="32">
                  <a:moveTo>
                    <a:pt x="10" y="0"/>
                  </a:moveTo>
                  <a:lnTo>
                    <a:pt x="15" y="0"/>
                  </a:lnTo>
                  <a:lnTo>
                    <a:pt x="15" y="2"/>
                  </a:lnTo>
                  <a:lnTo>
                    <a:pt x="15" y="6"/>
                  </a:lnTo>
                  <a:lnTo>
                    <a:pt x="19" y="8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5" y="21"/>
                  </a:lnTo>
                  <a:lnTo>
                    <a:pt x="15" y="24"/>
                  </a:lnTo>
                  <a:lnTo>
                    <a:pt x="15" y="26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6" y="32"/>
                  </a:lnTo>
                  <a:lnTo>
                    <a:pt x="4" y="30"/>
                  </a:lnTo>
                  <a:lnTo>
                    <a:pt x="6" y="30"/>
                  </a:lnTo>
                  <a:lnTo>
                    <a:pt x="6" y="26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1"/>
                  </a:lnTo>
                  <a:lnTo>
                    <a:pt x="4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" name="Freeform 21"/>
            <p:cNvSpPr>
              <a:spLocks noChangeAspect="1"/>
            </p:cNvSpPr>
            <p:nvPr/>
          </p:nvSpPr>
          <p:spPr bwMode="auto">
            <a:xfrm>
              <a:off x="2511" y="1573"/>
              <a:ext cx="127" cy="202"/>
            </a:xfrm>
            <a:custGeom>
              <a:avLst/>
              <a:gdLst>
                <a:gd name="T0" fmla="*/ 42 w 115"/>
                <a:gd name="T1" fmla="*/ 288 h 198"/>
                <a:gd name="T2" fmla="*/ 205 w 115"/>
                <a:gd name="T3" fmla="*/ 261 h 198"/>
                <a:gd name="T4" fmla="*/ 352 w 115"/>
                <a:gd name="T5" fmla="*/ 258 h 198"/>
                <a:gd name="T6" fmla="*/ 337 w 115"/>
                <a:gd name="T7" fmla="*/ 251 h 198"/>
                <a:gd name="T8" fmla="*/ 205 w 115"/>
                <a:gd name="T9" fmla="*/ 236 h 198"/>
                <a:gd name="T10" fmla="*/ 113 w 115"/>
                <a:gd name="T11" fmla="*/ 236 h 198"/>
                <a:gd name="T12" fmla="*/ 237 w 115"/>
                <a:gd name="T13" fmla="*/ 203 h 198"/>
                <a:gd name="T14" fmla="*/ 177 w 115"/>
                <a:gd name="T15" fmla="*/ 203 h 198"/>
                <a:gd name="T16" fmla="*/ 296 w 115"/>
                <a:gd name="T17" fmla="*/ 191 h 198"/>
                <a:gd name="T18" fmla="*/ 379 w 115"/>
                <a:gd name="T19" fmla="*/ 179 h 198"/>
                <a:gd name="T20" fmla="*/ 379 w 115"/>
                <a:gd name="T21" fmla="*/ 163 h 198"/>
                <a:gd name="T22" fmla="*/ 337 w 115"/>
                <a:gd name="T23" fmla="*/ 140 h 198"/>
                <a:gd name="T24" fmla="*/ 379 w 115"/>
                <a:gd name="T25" fmla="*/ 130 h 198"/>
                <a:gd name="T26" fmla="*/ 237 w 115"/>
                <a:gd name="T27" fmla="*/ 133 h 198"/>
                <a:gd name="T28" fmla="*/ 113 w 115"/>
                <a:gd name="T29" fmla="*/ 133 h 198"/>
                <a:gd name="T30" fmla="*/ 177 w 115"/>
                <a:gd name="T31" fmla="*/ 107 h 198"/>
                <a:gd name="T32" fmla="*/ 75 w 115"/>
                <a:gd name="T33" fmla="*/ 97 h 198"/>
                <a:gd name="T34" fmla="*/ 62 w 115"/>
                <a:gd name="T35" fmla="*/ 103 h 198"/>
                <a:gd name="T36" fmla="*/ 113 w 115"/>
                <a:gd name="T37" fmla="*/ 69 h 198"/>
                <a:gd name="T38" fmla="*/ 0 w 115"/>
                <a:gd name="T39" fmla="*/ 65 h 198"/>
                <a:gd name="T40" fmla="*/ 75 w 115"/>
                <a:gd name="T41" fmla="*/ 52 h 198"/>
                <a:gd name="T42" fmla="*/ 62 w 115"/>
                <a:gd name="T43" fmla="*/ 21 h 198"/>
                <a:gd name="T44" fmla="*/ 113 w 115"/>
                <a:gd name="T45" fmla="*/ 10 h 198"/>
                <a:gd name="T46" fmla="*/ 177 w 115"/>
                <a:gd name="T47" fmla="*/ 0 h 198"/>
                <a:gd name="T48" fmla="*/ 379 w 115"/>
                <a:gd name="T49" fmla="*/ 0 h 198"/>
                <a:gd name="T50" fmla="*/ 268 w 115"/>
                <a:gd name="T51" fmla="*/ 17 h 198"/>
                <a:gd name="T52" fmla="*/ 237 w 115"/>
                <a:gd name="T53" fmla="*/ 45 h 198"/>
                <a:gd name="T54" fmla="*/ 511 w 115"/>
                <a:gd name="T55" fmla="*/ 23 h 198"/>
                <a:gd name="T56" fmla="*/ 466 w 115"/>
                <a:gd name="T57" fmla="*/ 58 h 198"/>
                <a:gd name="T58" fmla="*/ 428 w 115"/>
                <a:gd name="T59" fmla="*/ 77 h 198"/>
                <a:gd name="T60" fmla="*/ 337 w 115"/>
                <a:gd name="T61" fmla="*/ 93 h 198"/>
                <a:gd name="T62" fmla="*/ 564 w 115"/>
                <a:gd name="T63" fmla="*/ 119 h 198"/>
                <a:gd name="T64" fmla="*/ 758 w 115"/>
                <a:gd name="T65" fmla="*/ 155 h 198"/>
                <a:gd name="T66" fmla="*/ 758 w 115"/>
                <a:gd name="T67" fmla="*/ 175 h 198"/>
                <a:gd name="T68" fmla="*/ 766 w 115"/>
                <a:gd name="T69" fmla="*/ 199 h 198"/>
                <a:gd name="T70" fmla="*/ 812 w 115"/>
                <a:gd name="T71" fmla="*/ 203 h 198"/>
                <a:gd name="T72" fmla="*/ 986 w 115"/>
                <a:gd name="T73" fmla="*/ 211 h 198"/>
                <a:gd name="T74" fmla="*/ 893 w 115"/>
                <a:gd name="T75" fmla="*/ 236 h 198"/>
                <a:gd name="T76" fmla="*/ 812 w 115"/>
                <a:gd name="T77" fmla="*/ 251 h 198"/>
                <a:gd name="T78" fmla="*/ 893 w 115"/>
                <a:gd name="T79" fmla="*/ 268 h 198"/>
                <a:gd name="T80" fmla="*/ 694 w 115"/>
                <a:gd name="T81" fmla="*/ 268 h 198"/>
                <a:gd name="T82" fmla="*/ 511 w 115"/>
                <a:gd name="T83" fmla="*/ 273 h 198"/>
                <a:gd name="T84" fmla="*/ 337 w 115"/>
                <a:gd name="T85" fmla="*/ 275 h 198"/>
                <a:gd name="T86" fmla="*/ 215 w 115"/>
                <a:gd name="T87" fmla="*/ 286 h 19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15"/>
                <a:gd name="T133" fmla="*/ 0 h 198"/>
                <a:gd name="T134" fmla="*/ 115 w 115"/>
                <a:gd name="T135" fmla="*/ 198 h 19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15" h="198">
                  <a:moveTo>
                    <a:pt x="9" y="198"/>
                  </a:moveTo>
                  <a:lnTo>
                    <a:pt x="5" y="194"/>
                  </a:lnTo>
                  <a:lnTo>
                    <a:pt x="13" y="187"/>
                  </a:lnTo>
                  <a:lnTo>
                    <a:pt x="24" y="174"/>
                  </a:lnTo>
                  <a:lnTo>
                    <a:pt x="28" y="172"/>
                  </a:lnTo>
                  <a:lnTo>
                    <a:pt x="41" y="172"/>
                  </a:lnTo>
                  <a:lnTo>
                    <a:pt x="46" y="164"/>
                  </a:lnTo>
                  <a:lnTo>
                    <a:pt x="39" y="168"/>
                  </a:lnTo>
                  <a:lnTo>
                    <a:pt x="26" y="164"/>
                  </a:lnTo>
                  <a:lnTo>
                    <a:pt x="24" y="159"/>
                  </a:lnTo>
                  <a:lnTo>
                    <a:pt x="15" y="164"/>
                  </a:lnTo>
                  <a:lnTo>
                    <a:pt x="13" y="159"/>
                  </a:lnTo>
                  <a:lnTo>
                    <a:pt x="28" y="144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4" y="133"/>
                  </a:lnTo>
                  <a:lnTo>
                    <a:pt x="35" y="127"/>
                  </a:lnTo>
                  <a:lnTo>
                    <a:pt x="46" y="127"/>
                  </a:lnTo>
                  <a:lnTo>
                    <a:pt x="44" y="120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1" y="110"/>
                  </a:lnTo>
                  <a:lnTo>
                    <a:pt x="39" y="95"/>
                  </a:lnTo>
                  <a:lnTo>
                    <a:pt x="44" y="88"/>
                  </a:lnTo>
                  <a:lnTo>
                    <a:pt x="39" y="88"/>
                  </a:lnTo>
                  <a:lnTo>
                    <a:pt x="28" y="90"/>
                  </a:lnTo>
                  <a:lnTo>
                    <a:pt x="20" y="95"/>
                  </a:lnTo>
                  <a:lnTo>
                    <a:pt x="13" y="90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20" y="66"/>
                  </a:lnTo>
                  <a:lnTo>
                    <a:pt x="9" y="66"/>
                  </a:lnTo>
                  <a:lnTo>
                    <a:pt x="7" y="79"/>
                  </a:lnTo>
                  <a:lnTo>
                    <a:pt x="7" y="69"/>
                  </a:lnTo>
                  <a:lnTo>
                    <a:pt x="7" y="56"/>
                  </a:lnTo>
                  <a:lnTo>
                    <a:pt x="13" y="49"/>
                  </a:lnTo>
                  <a:lnTo>
                    <a:pt x="7" y="51"/>
                  </a:lnTo>
                  <a:lnTo>
                    <a:pt x="0" y="45"/>
                  </a:lnTo>
                  <a:lnTo>
                    <a:pt x="7" y="38"/>
                  </a:lnTo>
                  <a:lnTo>
                    <a:pt x="9" y="32"/>
                  </a:lnTo>
                  <a:lnTo>
                    <a:pt x="5" y="30"/>
                  </a:lnTo>
                  <a:lnTo>
                    <a:pt x="7" y="21"/>
                  </a:lnTo>
                  <a:lnTo>
                    <a:pt x="13" y="17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20" y="0"/>
                  </a:lnTo>
                  <a:lnTo>
                    <a:pt x="31" y="2"/>
                  </a:lnTo>
                  <a:lnTo>
                    <a:pt x="44" y="0"/>
                  </a:lnTo>
                  <a:lnTo>
                    <a:pt x="44" y="8"/>
                  </a:lnTo>
                  <a:lnTo>
                    <a:pt x="31" y="17"/>
                  </a:lnTo>
                  <a:lnTo>
                    <a:pt x="31" y="21"/>
                  </a:lnTo>
                  <a:lnTo>
                    <a:pt x="28" y="25"/>
                  </a:lnTo>
                  <a:lnTo>
                    <a:pt x="39" y="23"/>
                  </a:lnTo>
                  <a:lnTo>
                    <a:pt x="59" y="23"/>
                  </a:lnTo>
                  <a:lnTo>
                    <a:pt x="63" y="30"/>
                  </a:lnTo>
                  <a:lnTo>
                    <a:pt x="54" y="38"/>
                  </a:lnTo>
                  <a:lnTo>
                    <a:pt x="46" y="54"/>
                  </a:lnTo>
                  <a:lnTo>
                    <a:pt x="50" y="56"/>
                  </a:lnTo>
                  <a:lnTo>
                    <a:pt x="44" y="60"/>
                  </a:lnTo>
                  <a:lnTo>
                    <a:pt x="39" y="64"/>
                  </a:lnTo>
                  <a:lnTo>
                    <a:pt x="50" y="64"/>
                  </a:lnTo>
                  <a:lnTo>
                    <a:pt x="65" y="79"/>
                  </a:lnTo>
                  <a:lnTo>
                    <a:pt x="74" y="95"/>
                  </a:lnTo>
                  <a:lnTo>
                    <a:pt x="87" y="105"/>
                  </a:lnTo>
                  <a:lnTo>
                    <a:pt x="89" y="118"/>
                  </a:lnTo>
                  <a:lnTo>
                    <a:pt x="87" y="118"/>
                  </a:lnTo>
                  <a:lnTo>
                    <a:pt x="93" y="129"/>
                  </a:lnTo>
                  <a:lnTo>
                    <a:pt x="89" y="133"/>
                  </a:lnTo>
                  <a:lnTo>
                    <a:pt x="93" y="140"/>
                  </a:lnTo>
                  <a:lnTo>
                    <a:pt x="95" y="136"/>
                  </a:lnTo>
                  <a:lnTo>
                    <a:pt x="104" y="133"/>
                  </a:lnTo>
                  <a:lnTo>
                    <a:pt x="115" y="142"/>
                  </a:lnTo>
                  <a:lnTo>
                    <a:pt x="108" y="159"/>
                  </a:lnTo>
                  <a:lnTo>
                    <a:pt x="104" y="159"/>
                  </a:lnTo>
                  <a:lnTo>
                    <a:pt x="100" y="164"/>
                  </a:lnTo>
                  <a:lnTo>
                    <a:pt x="95" y="168"/>
                  </a:lnTo>
                  <a:lnTo>
                    <a:pt x="108" y="170"/>
                  </a:lnTo>
                  <a:lnTo>
                    <a:pt x="104" y="179"/>
                  </a:lnTo>
                  <a:lnTo>
                    <a:pt x="93" y="183"/>
                  </a:lnTo>
                  <a:lnTo>
                    <a:pt x="80" y="179"/>
                  </a:lnTo>
                  <a:lnTo>
                    <a:pt x="74" y="179"/>
                  </a:lnTo>
                  <a:lnTo>
                    <a:pt x="59" y="183"/>
                  </a:lnTo>
                  <a:lnTo>
                    <a:pt x="46" y="183"/>
                  </a:lnTo>
                  <a:lnTo>
                    <a:pt x="39" y="185"/>
                  </a:lnTo>
                  <a:lnTo>
                    <a:pt x="31" y="192"/>
                  </a:lnTo>
                  <a:lnTo>
                    <a:pt x="26" y="192"/>
                  </a:lnTo>
                  <a:lnTo>
                    <a:pt x="9" y="198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3" name="Freeform 22"/>
            <p:cNvSpPr>
              <a:spLocks noChangeAspect="1"/>
            </p:cNvSpPr>
            <p:nvPr/>
          </p:nvSpPr>
          <p:spPr bwMode="auto">
            <a:xfrm>
              <a:off x="2483" y="1654"/>
              <a:ext cx="40" cy="31"/>
            </a:xfrm>
            <a:custGeom>
              <a:avLst/>
              <a:gdLst>
                <a:gd name="T0" fmla="*/ 50 w 37"/>
                <a:gd name="T1" fmla="*/ 9 h 31"/>
                <a:gd name="T2" fmla="*/ 86 w 37"/>
                <a:gd name="T3" fmla="*/ 5 h 31"/>
                <a:gd name="T4" fmla="*/ 144 w 37"/>
                <a:gd name="T5" fmla="*/ 0 h 31"/>
                <a:gd name="T6" fmla="*/ 144 w 37"/>
                <a:gd name="T7" fmla="*/ 0 h 31"/>
                <a:gd name="T8" fmla="*/ 184 w 37"/>
                <a:gd name="T9" fmla="*/ 11 h 31"/>
                <a:gd name="T10" fmla="*/ 174 w 37"/>
                <a:gd name="T11" fmla="*/ 16 h 31"/>
                <a:gd name="T12" fmla="*/ 184 w 37"/>
                <a:gd name="T13" fmla="*/ 16 h 31"/>
                <a:gd name="T14" fmla="*/ 203 w 37"/>
                <a:gd name="T15" fmla="*/ 24 h 31"/>
                <a:gd name="T16" fmla="*/ 144 w 37"/>
                <a:gd name="T17" fmla="*/ 31 h 31"/>
                <a:gd name="T18" fmla="*/ 144 w 37"/>
                <a:gd name="T19" fmla="*/ 26 h 31"/>
                <a:gd name="T20" fmla="*/ 123 w 37"/>
                <a:gd name="T21" fmla="*/ 26 h 31"/>
                <a:gd name="T22" fmla="*/ 58 w 37"/>
                <a:gd name="T23" fmla="*/ 16 h 31"/>
                <a:gd name="T24" fmla="*/ 58 w 37"/>
                <a:gd name="T25" fmla="*/ 20 h 31"/>
                <a:gd name="T26" fmla="*/ 58 w 37"/>
                <a:gd name="T27" fmla="*/ 24 h 31"/>
                <a:gd name="T28" fmla="*/ 50 w 37"/>
                <a:gd name="T29" fmla="*/ 26 h 31"/>
                <a:gd name="T30" fmla="*/ 3 w 37"/>
                <a:gd name="T31" fmla="*/ 24 h 31"/>
                <a:gd name="T32" fmla="*/ 0 w 37"/>
                <a:gd name="T33" fmla="*/ 16 h 31"/>
                <a:gd name="T34" fmla="*/ 3 w 37"/>
                <a:gd name="T35" fmla="*/ 16 h 31"/>
                <a:gd name="T36" fmla="*/ 3 w 37"/>
                <a:gd name="T37" fmla="*/ 11 h 31"/>
                <a:gd name="T38" fmla="*/ 50 w 37"/>
                <a:gd name="T39" fmla="*/ 9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7"/>
                <a:gd name="T61" fmla="*/ 0 h 31"/>
                <a:gd name="T62" fmla="*/ 37 w 37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7" h="31">
                  <a:moveTo>
                    <a:pt x="9" y="9"/>
                  </a:moveTo>
                  <a:lnTo>
                    <a:pt x="16" y="5"/>
                  </a:lnTo>
                  <a:lnTo>
                    <a:pt x="26" y="0"/>
                  </a:lnTo>
                  <a:lnTo>
                    <a:pt x="33" y="11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7" y="24"/>
                  </a:lnTo>
                  <a:lnTo>
                    <a:pt x="26" y="31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9" y="26"/>
                  </a:lnTo>
                  <a:lnTo>
                    <a:pt x="3" y="24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1"/>
                  </a:lnTo>
                  <a:lnTo>
                    <a:pt x="9" y="9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4" name="Freeform 23"/>
            <p:cNvSpPr>
              <a:spLocks noChangeAspect="1"/>
            </p:cNvSpPr>
            <p:nvPr/>
          </p:nvSpPr>
          <p:spPr bwMode="auto">
            <a:xfrm>
              <a:off x="2500" y="1577"/>
              <a:ext cx="11" cy="16"/>
            </a:xfrm>
            <a:custGeom>
              <a:avLst/>
              <a:gdLst>
                <a:gd name="T0" fmla="*/ 0 w 10"/>
                <a:gd name="T1" fmla="*/ 51 h 15"/>
                <a:gd name="T2" fmla="*/ 0 w 10"/>
                <a:gd name="T3" fmla="*/ 39 h 15"/>
                <a:gd name="T4" fmla="*/ 0 w 10"/>
                <a:gd name="T5" fmla="*/ 33 h 15"/>
                <a:gd name="T6" fmla="*/ 0 w 10"/>
                <a:gd name="T7" fmla="*/ 4 h 15"/>
                <a:gd name="T8" fmla="*/ 2 w 10"/>
                <a:gd name="T9" fmla="*/ 4 h 15"/>
                <a:gd name="T10" fmla="*/ 2 w 10"/>
                <a:gd name="T11" fmla="*/ 4 h 15"/>
                <a:gd name="T12" fmla="*/ 76 w 10"/>
                <a:gd name="T13" fmla="*/ 0 h 15"/>
                <a:gd name="T14" fmla="*/ 76 w 10"/>
                <a:gd name="T15" fmla="*/ 4 h 15"/>
                <a:gd name="T16" fmla="*/ 52 w 10"/>
                <a:gd name="T17" fmla="*/ 33 h 15"/>
                <a:gd name="T18" fmla="*/ 76 w 10"/>
                <a:gd name="T19" fmla="*/ 33 h 15"/>
                <a:gd name="T20" fmla="*/ 52 w 10"/>
                <a:gd name="T21" fmla="*/ 39 h 15"/>
                <a:gd name="T22" fmla="*/ 0 w 10"/>
                <a:gd name="T23" fmla="*/ 51 h 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"/>
                <a:gd name="T37" fmla="*/ 0 h 15"/>
                <a:gd name="T38" fmla="*/ 10 w 10"/>
                <a:gd name="T39" fmla="*/ 15 h 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" h="15">
                  <a:moveTo>
                    <a:pt x="0" y="15"/>
                  </a:moveTo>
                  <a:lnTo>
                    <a:pt x="0" y="11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4"/>
                  </a:lnTo>
                  <a:lnTo>
                    <a:pt x="10" y="0"/>
                  </a:lnTo>
                  <a:lnTo>
                    <a:pt x="10" y="4"/>
                  </a:lnTo>
                  <a:lnTo>
                    <a:pt x="6" y="8"/>
                  </a:lnTo>
                  <a:lnTo>
                    <a:pt x="10" y="8"/>
                  </a:lnTo>
                  <a:lnTo>
                    <a:pt x="6" y="11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5" name="Freeform 24"/>
            <p:cNvSpPr>
              <a:spLocks noChangeAspect="1"/>
            </p:cNvSpPr>
            <p:nvPr/>
          </p:nvSpPr>
          <p:spPr bwMode="auto">
            <a:xfrm>
              <a:off x="2503" y="1597"/>
              <a:ext cx="16" cy="11"/>
            </a:xfrm>
            <a:custGeom>
              <a:avLst/>
              <a:gdLst>
                <a:gd name="T0" fmla="*/ 51 w 15"/>
                <a:gd name="T1" fmla="*/ 11 h 11"/>
                <a:gd name="T2" fmla="*/ 37 w 15"/>
                <a:gd name="T3" fmla="*/ 11 h 11"/>
                <a:gd name="T4" fmla="*/ 51 w 15"/>
                <a:gd name="T5" fmla="*/ 11 h 11"/>
                <a:gd name="T6" fmla="*/ 6 w 15"/>
                <a:gd name="T7" fmla="*/ 11 h 11"/>
                <a:gd name="T8" fmla="*/ 4 w 15"/>
                <a:gd name="T9" fmla="*/ 5 h 11"/>
                <a:gd name="T10" fmla="*/ 0 w 15"/>
                <a:gd name="T11" fmla="*/ 5 h 11"/>
                <a:gd name="T12" fmla="*/ 4 w 15"/>
                <a:gd name="T13" fmla="*/ 0 h 11"/>
                <a:gd name="T14" fmla="*/ 6 w 15"/>
                <a:gd name="T15" fmla="*/ 2 h 11"/>
                <a:gd name="T16" fmla="*/ 6 w 15"/>
                <a:gd name="T17" fmla="*/ 0 h 11"/>
                <a:gd name="T18" fmla="*/ 37 w 15"/>
                <a:gd name="T19" fmla="*/ 0 h 11"/>
                <a:gd name="T20" fmla="*/ 37 w 15"/>
                <a:gd name="T21" fmla="*/ 7 h 11"/>
                <a:gd name="T22" fmla="*/ 58 w 15"/>
                <a:gd name="T23" fmla="*/ 7 h 11"/>
                <a:gd name="T24" fmla="*/ 51 w 15"/>
                <a:gd name="T25" fmla="*/ 11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1"/>
                <a:gd name="T41" fmla="*/ 15 w 15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1">
                  <a:moveTo>
                    <a:pt x="13" y="11"/>
                  </a:moveTo>
                  <a:lnTo>
                    <a:pt x="8" y="11"/>
                  </a:lnTo>
                  <a:lnTo>
                    <a:pt x="13" y="11"/>
                  </a:lnTo>
                  <a:lnTo>
                    <a:pt x="6" y="11"/>
                  </a:lnTo>
                  <a:lnTo>
                    <a:pt x="4" y="5"/>
                  </a:lnTo>
                  <a:lnTo>
                    <a:pt x="0" y="5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7"/>
                  </a:lnTo>
                  <a:lnTo>
                    <a:pt x="15" y="7"/>
                  </a:lnTo>
                  <a:lnTo>
                    <a:pt x="13" y="11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6" name="Freeform 25"/>
            <p:cNvSpPr>
              <a:spLocks noChangeAspect="1"/>
            </p:cNvSpPr>
            <p:nvPr/>
          </p:nvSpPr>
          <p:spPr bwMode="auto">
            <a:xfrm>
              <a:off x="2583" y="1522"/>
              <a:ext cx="12" cy="18"/>
            </a:xfrm>
            <a:custGeom>
              <a:avLst/>
              <a:gdLst>
                <a:gd name="T0" fmla="*/ 4 w 11"/>
                <a:gd name="T1" fmla="*/ 50 h 17"/>
                <a:gd name="T2" fmla="*/ 4 w 11"/>
                <a:gd name="T3" fmla="*/ 36 h 17"/>
                <a:gd name="T4" fmla="*/ 0 w 11"/>
                <a:gd name="T5" fmla="*/ 32 h 17"/>
                <a:gd name="T6" fmla="*/ 4 w 11"/>
                <a:gd name="T7" fmla="*/ 32 h 17"/>
                <a:gd name="T8" fmla="*/ 0 w 11"/>
                <a:gd name="T9" fmla="*/ 2 h 17"/>
                <a:gd name="T10" fmla="*/ 49 w 11"/>
                <a:gd name="T11" fmla="*/ 0 h 17"/>
                <a:gd name="T12" fmla="*/ 49 w 11"/>
                <a:gd name="T13" fmla="*/ 4 h 17"/>
                <a:gd name="T14" fmla="*/ 69 w 11"/>
                <a:gd name="T15" fmla="*/ 36 h 17"/>
                <a:gd name="T16" fmla="*/ 4 w 11"/>
                <a:gd name="T17" fmla="*/ 5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7"/>
                <a:gd name="T29" fmla="*/ 11 w 11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7">
                  <a:moveTo>
                    <a:pt x="4" y="17"/>
                  </a:moveTo>
                  <a:lnTo>
                    <a:pt x="4" y="11"/>
                  </a:lnTo>
                  <a:lnTo>
                    <a:pt x="0" y="9"/>
                  </a:lnTo>
                  <a:lnTo>
                    <a:pt x="4" y="9"/>
                  </a:lnTo>
                  <a:lnTo>
                    <a:pt x="0" y="2"/>
                  </a:lnTo>
                  <a:lnTo>
                    <a:pt x="7" y="0"/>
                  </a:lnTo>
                  <a:lnTo>
                    <a:pt x="7" y="4"/>
                  </a:lnTo>
                  <a:lnTo>
                    <a:pt x="11" y="11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7" name="Freeform 26"/>
            <p:cNvSpPr>
              <a:spLocks noChangeAspect="1"/>
            </p:cNvSpPr>
            <p:nvPr/>
          </p:nvSpPr>
          <p:spPr bwMode="auto">
            <a:xfrm>
              <a:off x="2500" y="1477"/>
              <a:ext cx="11" cy="10"/>
            </a:xfrm>
            <a:custGeom>
              <a:avLst/>
              <a:gdLst>
                <a:gd name="T0" fmla="*/ 52 w 10"/>
                <a:gd name="T1" fmla="*/ 10 h 10"/>
                <a:gd name="T2" fmla="*/ 0 w 10"/>
                <a:gd name="T3" fmla="*/ 4 h 10"/>
                <a:gd name="T4" fmla="*/ 2 w 10"/>
                <a:gd name="T5" fmla="*/ 0 h 10"/>
                <a:gd name="T6" fmla="*/ 76 w 10"/>
                <a:gd name="T7" fmla="*/ 6 h 10"/>
                <a:gd name="T8" fmla="*/ 52 w 10"/>
                <a:gd name="T9" fmla="*/ 1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0"/>
                <a:gd name="T17" fmla="*/ 10 w 10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0">
                  <a:moveTo>
                    <a:pt x="6" y="10"/>
                  </a:moveTo>
                  <a:lnTo>
                    <a:pt x="0" y="4"/>
                  </a:lnTo>
                  <a:lnTo>
                    <a:pt x="2" y="0"/>
                  </a:lnTo>
                  <a:lnTo>
                    <a:pt x="10" y="6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8" name="Freeform 27"/>
            <p:cNvSpPr>
              <a:spLocks noChangeAspect="1"/>
            </p:cNvSpPr>
            <p:nvPr/>
          </p:nvSpPr>
          <p:spPr bwMode="auto">
            <a:xfrm>
              <a:off x="2557" y="1557"/>
              <a:ext cx="9" cy="7"/>
            </a:xfrm>
            <a:custGeom>
              <a:avLst/>
              <a:gdLst>
                <a:gd name="T0" fmla="*/ 9 w 9"/>
                <a:gd name="T1" fmla="*/ 7 h 7"/>
                <a:gd name="T2" fmla="*/ 0 w 9"/>
                <a:gd name="T3" fmla="*/ 7 h 7"/>
                <a:gd name="T4" fmla="*/ 0 w 9"/>
                <a:gd name="T5" fmla="*/ 0 h 7"/>
                <a:gd name="T6" fmla="*/ 3 w 9"/>
                <a:gd name="T7" fmla="*/ 5 h 7"/>
                <a:gd name="T8" fmla="*/ 9 w 9"/>
                <a:gd name="T9" fmla="*/ 5 h 7"/>
                <a:gd name="T10" fmla="*/ 9 w 9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9" y="7"/>
                  </a:moveTo>
                  <a:lnTo>
                    <a:pt x="0" y="7"/>
                  </a:lnTo>
                  <a:lnTo>
                    <a:pt x="0" y="0"/>
                  </a:lnTo>
                  <a:lnTo>
                    <a:pt x="3" y="5"/>
                  </a:lnTo>
                  <a:lnTo>
                    <a:pt x="9" y="5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9" name="Freeform 28"/>
            <p:cNvSpPr>
              <a:spLocks noChangeAspect="1"/>
            </p:cNvSpPr>
            <p:nvPr/>
          </p:nvSpPr>
          <p:spPr bwMode="auto">
            <a:xfrm>
              <a:off x="2493" y="1604"/>
              <a:ext cx="4" cy="6"/>
            </a:xfrm>
            <a:custGeom>
              <a:avLst/>
              <a:gdLst>
                <a:gd name="T0" fmla="*/ 4 w 4"/>
                <a:gd name="T1" fmla="*/ 6 h 6"/>
                <a:gd name="T2" fmla="*/ 0 w 4"/>
                <a:gd name="T3" fmla="*/ 6 h 6"/>
                <a:gd name="T4" fmla="*/ 0 w 4"/>
                <a:gd name="T5" fmla="*/ 0 h 6"/>
                <a:gd name="T6" fmla="*/ 4 w 4"/>
                <a:gd name="T7" fmla="*/ 2 h 6"/>
                <a:gd name="T8" fmla="*/ 4 w 4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6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0" name="Freeform 29"/>
            <p:cNvSpPr>
              <a:spLocks noChangeAspect="1"/>
            </p:cNvSpPr>
            <p:nvPr/>
          </p:nvSpPr>
          <p:spPr bwMode="auto">
            <a:xfrm>
              <a:off x="2491" y="1597"/>
              <a:ext cx="6" cy="2"/>
            </a:xfrm>
            <a:custGeom>
              <a:avLst/>
              <a:gdLst>
                <a:gd name="T0" fmla="*/ 6 w 6"/>
                <a:gd name="T1" fmla="*/ 2 h 2"/>
                <a:gd name="T2" fmla="*/ 0 w 6"/>
                <a:gd name="T3" fmla="*/ 0 h 2"/>
                <a:gd name="T4" fmla="*/ 6 w 6"/>
                <a:gd name="T5" fmla="*/ 0 h 2"/>
                <a:gd name="T6" fmla="*/ 6 w 6"/>
                <a:gd name="T7" fmla="*/ 2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"/>
                <a:gd name="T14" fmla="*/ 6 w 6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">
                  <a:moveTo>
                    <a:pt x="6" y="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1" name="Freeform 30"/>
            <p:cNvSpPr>
              <a:spLocks noChangeAspect="1"/>
            </p:cNvSpPr>
            <p:nvPr/>
          </p:nvSpPr>
          <p:spPr bwMode="auto">
            <a:xfrm>
              <a:off x="2441" y="1654"/>
              <a:ext cx="70" cy="86"/>
            </a:xfrm>
            <a:custGeom>
              <a:avLst/>
              <a:gdLst>
                <a:gd name="T0" fmla="*/ 280 w 64"/>
                <a:gd name="T1" fmla="*/ 11 h 85"/>
                <a:gd name="T2" fmla="*/ 260 w 64"/>
                <a:gd name="T3" fmla="*/ 18 h 85"/>
                <a:gd name="T4" fmla="*/ 334 w 64"/>
                <a:gd name="T5" fmla="*/ 26 h 85"/>
                <a:gd name="T6" fmla="*/ 340 w 64"/>
                <a:gd name="T7" fmla="*/ 22 h 85"/>
                <a:gd name="T8" fmla="*/ 407 w 64"/>
                <a:gd name="T9" fmla="*/ 26 h 85"/>
                <a:gd name="T10" fmla="*/ 445 w 64"/>
                <a:gd name="T11" fmla="*/ 31 h 85"/>
                <a:gd name="T12" fmla="*/ 407 w 64"/>
                <a:gd name="T13" fmla="*/ 31 h 85"/>
                <a:gd name="T14" fmla="*/ 436 w 64"/>
                <a:gd name="T15" fmla="*/ 66 h 85"/>
                <a:gd name="T16" fmla="*/ 436 w 64"/>
                <a:gd name="T17" fmla="*/ 77 h 85"/>
                <a:gd name="T18" fmla="*/ 407 w 64"/>
                <a:gd name="T19" fmla="*/ 83 h 85"/>
                <a:gd name="T20" fmla="*/ 340 w 64"/>
                <a:gd name="T21" fmla="*/ 94 h 85"/>
                <a:gd name="T22" fmla="*/ 213 w 64"/>
                <a:gd name="T23" fmla="*/ 100 h 85"/>
                <a:gd name="T24" fmla="*/ 179 w 64"/>
                <a:gd name="T25" fmla="*/ 100 h 85"/>
                <a:gd name="T26" fmla="*/ 68 w 64"/>
                <a:gd name="T27" fmla="*/ 105 h 85"/>
                <a:gd name="T28" fmla="*/ 68 w 64"/>
                <a:gd name="T29" fmla="*/ 98 h 85"/>
                <a:gd name="T30" fmla="*/ 2 w 64"/>
                <a:gd name="T31" fmla="*/ 94 h 85"/>
                <a:gd name="T32" fmla="*/ 0 w 64"/>
                <a:gd name="T33" fmla="*/ 94 h 85"/>
                <a:gd name="T34" fmla="*/ 57 w 64"/>
                <a:gd name="T35" fmla="*/ 89 h 85"/>
                <a:gd name="T36" fmla="*/ 68 w 64"/>
                <a:gd name="T37" fmla="*/ 83 h 85"/>
                <a:gd name="T38" fmla="*/ 164 w 64"/>
                <a:gd name="T39" fmla="*/ 81 h 85"/>
                <a:gd name="T40" fmla="*/ 114 w 64"/>
                <a:gd name="T41" fmla="*/ 81 h 85"/>
                <a:gd name="T42" fmla="*/ 104 w 64"/>
                <a:gd name="T43" fmla="*/ 77 h 85"/>
                <a:gd name="T44" fmla="*/ 127 w 64"/>
                <a:gd name="T45" fmla="*/ 68 h 85"/>
                <a:gd name="T46" fmla="*/ 4 w 64"/>
                <a:gd name="T47" fmla="*/ 39 h 85"/>
                <a:gd name="T48" fmla="*/ 104 w 64"/>
                <a:gd name="T49" fmla="*/ 35 h 85"/>
                <a:gd name="T50" fmla="*/ 57 w 64"/>
                <a:gd name="T51" fmla="*/ 26 h 85"/>
                <a:gd name="T52" fmla="*/ 57 w 64"/>
                <a:gd name="T53" fmla="*/ 24 h 85"/>
                <a:gd name="T54" fmla="*/ 127 w 64"/>
                <a:gd name="T55" fmla="*/ 26 h 85"/>
                <a:gd name="T56" fmla="*/ 213 w 64"/>
                <a:gd name="T57" fmla="*/ 24 h 85"/>
                <a:gd name="T58" fmla="*/ 238 w 64"/>
                <a:gd name="T59" fmla="*/ 18 h 85"/>
                <a:gd name="T60" fmla="*/ 179 w 64"/>
                <a:gd name="T61" fmla="*/ 16 h 85"/>
                <a:gd name="T62" fmla="*/ 213 w 64"/>
                <a:gd name="T63" fmla="*/ 9 h 85"/>
                <a:gd name="T64" fmla="*/ 334 w 64"/>
                <a:gd name="T65" fmla="*/ 0 h 85"/>
                <a:gd name="T66" fmla="*/ 334 w 64"/>
                <a:gd name="T67" fmla="*/ 9 h 8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4"/>
                <a:gd name="T103" fmla="*/ 0 h 85"/>
                <a:gd name="T104" fmla="*/ 64 w 64"/>
                <a:gd name="T105" fmla="*/ 85 h 8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4" h="85">
                  <a:moveTo>
                    <a:pt x="47" y="9"/>
                  </a:moveTo>
                  <a:lnTo>
                    <a:pt x="41" y="11"/>
                  </a:lnTo>
                  <a:lnTo>
                    <a:pt x="41" y="16"/>
                  </a:lnTo>
                  <a:lnTo>
                    <a:pt x="38" y="18"/>
                  </a:lnTo>
                  <a:lnTo>
                    <a:pt x="41" y="24"/>
                  </a:lnTo>
                  <a:lnTo>
                    <a:pt x="47" y="26"/>
                  </a:lnTo>
                  <a:lnTo>
                    <a:pt x="49" y="24"/>
                  </a:lnTo>
                  <a:lnTo>
                    <a:pt x="49" y="22"/>
                  </a:lnTo>
                  <a:lnTo>
                    <a:pt x="49" y="18"/>
                  </a:lnTo>
                  <a:lnTo>
                    <a:pt x="58" y="26"/>
                  </a:lnTo>
                  <a:lnTo>
                    <a:pt x="62" y="26"/>
                  </a:lnTo>
                  <a:lnTo>
                    <a:pt x="64" y="31"/>
                  </a:lnTo>
                  <a:lnTo>
                    <a:pt x="62" y="33"/>
                  </a:lnTo>
                  <a:lnTo>
                    <a:pt x="58" y="31"/>
                  </a:lnTo>
                  <a:lnTo>
                    <a:pt x="62" y="39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2" y="57"/>
                  </a:lnTo>
                  <a:lnTo>
                    <a:pt x="58" y="61"/>
                  </a:lnTo>
                  <a:lnTo>
                    <a:pt x="58" y="63"/>
                  </a:lnTo>
                  <a:lnTo>
                    <a:pt x="58" y="74"/>
                  </a:lnTo>
                  <a:lnTo>
                    <a:pt x="49" y="74"/>
                  </a:lnTo>
                  <a:lnTo>
                    <a:pt x="38" y="74"/>
                  </a:lnTo>
                  <a:lnTo>
                    <a:pt x="30" y="80"/>
                  </a:lnTo>
                  <a:lnTo>
                    <a:pt x="30" y="78"/>
                  </a:lnTo>
                  <a:lnTo>
                    <a:pt x="26" y="80"/>
                  </a:lnTo>
                  <a:lnTo>
                    <a:pt x="17" y="85"/>
                  </a:lnTo>
                  <a:lnTo>
                    <a:pt x="10" y="85"/>
                  </a:lnTo>
                  <a:lnTo>
                    <a:pt x="4" y="85"/>
                  </a:lnTo>
                  <a:lnTo>
                    <a:pt x="10" y="78"/>
                  </a:lnTo>
                  <a:lnTo>
                    <a:pt x="2" y="78"/>
                  </a:lnTo>
                  <a:lnTo>
                    <a:pt x="2" y="74"/>
                  </a:lnTo>
                  <a:lnTo>
                    <a:pt x="8" y="74"/>
                  </a:lnTo>
                  <a:lnTo>
                    <a:pt x="0" y="74"/>
                  </a:lnTo>
                  <a:lnTo>
                    <a:pt x="2" y="69"/>
                  </a:lnTo>
                  <a:lnTo>
                    <a:pt x="8" y="69"/>
                  </a:lnTo>
                  <a:lnTo>
                    <a:pt x="8" y="65"/>
                  </a:lnTo>
                  <a:lnTo>
                    <a:pt x="10" y="63"/>
                  </a:lnTo>
                  <a:lnTo>
                    <a:pt x="19" y="61"/>
                  </a:lnTo>
                  <a:lnTo>
                    <a:pt x="23" y="61"/>
                  </a:lnTo>
                  <a:lnTo>
                    <a:pt x="19" y="57"/>
                  </a:lnTo>
                  <a:lnTo>
                    <a:pt x="17" y="61"/>
                  </a:lnTo>
                  <a:lnTo>
                    <a:pt x="10" y="61"/>
                  </a:lnTo>
                  <a:lnTo>
                    <a:pt x="15" y="57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0" y="46"/>
                  </a:lnTo>
                  <a:lnTo>
                    <a:pt x="4" y="39"/>
                  </a:lnTo>
                  <a:lnTo>
                    <a:pt x="10" y="35"/>
                  </a:lnTo>
                  <a:lnTo>
                    <a:pt x="15" y="35"/>
                  </a:lnTo>
                  <a:lnTo>
                    <a:pt x="10" y="33"/>
                  </a:lnTo>
                  <a:lnTo>
                    <a:pt x="8" y="26"/>
                  </a:lnTo>
                  <a:lnTo>
                    <a:pt x="4" y="31"/>
                  </a:lnTo>
                  <a:lnTo>
                    <a:pt x="8" y="24"/>
                  </a:lnTo>
                  <a:lnTo>
                    <a:pt x="15" y="24"/>
                  </a:lnTo>
                  <a:lnTo>
                    <a:pt x="19" y="26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26" y="16"/>
                  </a:lnTo>
                  <a:lnTo>
                    <a:pt x="30" y="11"/>
                  </a:lnTo>
                  <a:lnTo>
                    <a:pt x="30" y="9"/>
                  </a:lnTo>
                  <a:lnTo>
                    <a:pt x="41" y="3"/>
                  </a:lnTo>
                  <a:lnTo>
                    <a:pt x="47" y="0"/>
                  </a:lnTo>
                  <a:lnTo>
                    <a:pt x="54" y="3"/>
                  </a:lnTo>
                  <a:lnTo>
                    <a:pt x="47" y="9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2" name="Freeform 25"/>
            <p:cNvSpPr>
              <a:spLocks noChangeAspect="1"/>
            </p:cNvSpPr>
            <p:nvPr/>
          </p:nvSpPr>
          <p:spPr bwMode="auto">
            <a:xfrm>
              <a:off x="2720" y="1837"/>
              <a:ext cx="203" cy="188"/>
            </a:xfrm>
            <a:custGeom>
              <a:avLst/>
              <a:gdLst>
                <a:gd name="T0" fmla="*/ 574 w 184"/>
                <a:gd name="T1" fmla="*/ 6 h 185"/>
                <a:gd name="T2" fmla="*/ 639 w 184"/>
                <a:gd name="T3" fmla="*/ 0 h 185"/>
                <a:gd name="T4" fmla="*/ 773 w 184"/>
                <a:gd name="T5" fmla="*/ 6 h 185"/>
                <a:gd name="T6" fmla="*/ 858 w 184"/>
                <a:gd name="T7" fmla="*/ 13 h 185"/>
                <a:gd name="T8" fmla="*/ 941 w 184"/>
                <a:gd name="T9" fmla="*/ 23 h 185"/>
                <a:gd name="T10" fmla="*/ 941 w 184"/>
                <a:gd name="T11" fmla="*/ 54 h 185"/>
                <a:gd name="T12" fmla="*/ 858 w 184"/>
                <a:gd name="T13" fmla="*/ 28 h 185"/>
                <a:gd name="T14" fmla="*/ 806 w 184"/>
                <a:gd name="T15" fmla="*/ 30 h 185"/>
                <a:gd name="T16" fmla="*/ 698 w 184"/>
                <a:gd name="T17" fmla="*/ 56 h 185"/>
                <a:gd name="T18" fmla="*/ 698 w 184"/>
                <a:gd name="T19" fmla="*/ 65 h 185"/>
                <a:gd name="T20" fmla="*/ 858 w 184"/>
                <a:gd name="T21" fmla="*/ 97 h 185"/>
                <a:gd name="T22" fmla="*/ 1134 w 184"/>
                <a:gd name="T23" fmla="*/ 145 h 185"/>
                <a:gd name="T24" fmla="*/ 1218 w 184"/>
                <a:gd name="T25" fmla="*/ 148 h 185"/>
                <a:gd name="T26" fmla="*/ 1193 w 184"/>
                <a:gd name="T27" fmla="*/ 154 h 185"/>
                <a:gd name="T28" fmla="*/ 1429 w 184"/>
                <a:gd name="T29" fmla="*/ 170 h 185"/>
                <a:gd name="T30" fmla="*/ 1534 w 184"/>
                <a:gd name="T31" fmla="*/ 198 h 185"/>
                <a:gd name="T32" fmla="*/ 1446 w 184"/>
                <a:gd name="T33" fmla="*/ 192 h 185"/>
                <a:gd name="T34" fmla="*/ 1331 w 184"/>
                <a:gd name="T35" fmla="*/ 182 h 185"/>
                <a:gd name="T36" fmla="*/ 1258 w 184"/>
                <a:gd name="T37" fmla="*/ 206 h 185"/>
                <a:gd name="T38" fmla="*/ 1331 w 184"/>
                <a:gd name="T39" fmla="*/ 209 h 185"/>
                <a:gd name="T40" fmla="*/ 1311 w 184"/>
                <a:gd name="T41" fmla="*/ 229 h 185"/>
                <a:gd name="T42" fmla="*/ 1238 w 184"/>
                <a:gd name="T43" fmla="*/ 249 h 185"/>
                <a:gd name="T44" fmla="*/ 1193 w 184"/>
                <a:gd name="T45" fmla="*/ 246 h 185"/>
                <a:gd name="T46" fmla="*/ 1218 w 184"/>
                <a:gd name="T47" fmla="*/ 234 h 185"/>
                <a:gd name="T48" fmla="*/ 1174 w 184"/>
                <a:gd name="T49" fmla="*/ 192 h 185"/>
                <a:gd name="T50" fmla="*/ 1081 w 184"/>
                <a:gd name="T51" fmla="*/ 189 h 185"/>
                <a:gd name="T52" fmla="*/ 1064 w 184"/>
                <a:gd name="T53" fmla="*/ 176 h 185"/>
                <a:gd name="T54" fmla="*/ 1001 w 184"/>
                <a:gd name="T55" fmla="*/ 170 h 185"/>
                <a:gd name="T56" fmla="*/ 941 w 184"/>
                <a:gd name="T57" fmla="*/ 167 h 185"/>
                <a:gd name="T58" fmla="*/ 835 w 184"/>
                <a:gd name="T59" fmla="*/ 156 h 185"/>
                <a:gd name="T60" fmla="*/ 675 w 184"/>
                <a:gd name="T61" fmla="*/ 141 h 185"/>
                <a:gd name="T62" fmla="*/ 574 w 184"/>
                <a:gd name="T63" fmla="*/ 127 h 185"/>
                <a:gd name="T64" fmla="*/ 471 w 184"/>
                <a:gd name="T65" fmla="*/ 119 h 185"/>
                <a:gd name="T66" fmla="*/ 471 w 184"/>
                <a:gd name="T67" fmla="*/ 97 h 185"/>
                <a:gd name="T68" fmla="*/ 417 w 184"/>
                <a:gd name="T69" fmla="*/ 80 h 185"/>
                <a:gd name="T70" fmla="*/ 278 w 184"/>
                <a:gd name="T71" fmla="*/ 80 h 185"/>
                <a:gd name="T72" fmla="*/ 170 w 184"/>
                <a:gd name="T73" fmla="*/ 89 h 185"/>
                <a:gd name="T74" fmla="*/ 149 w 184"/>
                <a:gd name="T75" fmla="*/ 84 h 185"/>
                <a:gd name="T76" fmla="*/ 111 w 184"/>
                <a:gd name="T77" fmla="*/ 80 h 185"/>
                <a:gd name="T78" fmla="*/ 42 w 184"/>
                <a:gd name="T79" fmla="*/ 63 h 185"/>
                <a:gd name="T80" fmla="*/ 62 w 184"/>
                <a:gd name="T81" fmla="*/ 58 h 185"/>
                <a:gd name="T82" fmla="*/ 62 w 184"/>
                <a:gd name="T83" fmla="*/ 23 h 185"/>
                <a:gd name="T84" fmla="*/ 170 w 184"/>
                <a:gd name="T85" fmla="*/ 23 h 185"/>
                <a:gd name="T86" fmla="*/ 320 w 184"/>
                <a:gd name="T87" fmla="*/ 21 h 185"/>
                <a:gd name="T88" fmla="*/ 320 w 184"/>
                <a:gd name="T89" fmla="*/ 13 h 185"/>
                <a:gd name="T90" fmla="*/ 399 w 184"/>
                <a:gd name="T91" fmla="*/ 15 h 185"/>
                <a:gd name="T92" fmla="*/ 456 w 184"/>
                <a:gd name="T93" fmla="*/ 19 h 185"/>
                <a:gd name="T94" fmla="*/ 471 w 184"/>
                <a:gd name="T95" fmla="*/ 13 h 18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84"/>
                <a:gd name="T145" fmla="*/ 0 h 185"/>
                <a:gd name="T146" fmla="*/ 184 w 184"/>
                <a:gd name="T147" fmla="*/ 185 h 18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84" h="185">
                  <a:moveTo>
                    <a:pt x="59" y="6"/>
                  </a:moveTo>
                  <a:lnTo>
                    <a:pt x="69" y="6"/>
                  </a:lnTo>
                  <a:lnTo>
                    <a:pt x="69" y="0"/>
                  </a:lnTo>
                  <a:lnTo>
                    <a:pt x="78" y="0"/>
                  </a:lnTo>
                  <a:lnTo>
                    <a:pt x="84" y="0"/>
                  </a:lnTo>
                  <a:lnTo>
                    <a:pt x="93" y="6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13" y="23"/>
                  </a:lnTo>
                  <a:lnTo>
                    <a:pt x="115" y="30"/>
                  </a:lnTo>
                  <a:lnTo>
                    <a:pt x="113" y="34"/>
                  </a:lnTo>
                  <a:lnTo>
                    <a:pt x="104" y="30"/>
                  </a:lnTo>
                  <a:lnTo>
                    <a:pt x="104" y="28"/>
                  </a:lnTo>
                  <a:lnTo>
                    <a:pt x="97" y="28"/>
                  </a:lnTo>
                  <a:lnTo>
                    <a:pt x="97" y="30"/>
                  </a:lnTo>
                  <a:lnTo>
                    <a:pt x="89" y="34"/>
                  </a:lnTo>
                  <a:lnTo>
                    <a:pt x="84" y="36"/>
                  </a:lnTo>
                  <a:lnTo>
                    <a:pt x="87" y="43"/>
                  </a:lnTo>
                  <a:lnTo>
                    <a:pt x="84" y="45"/>
                  </a:lnTo>
                  <a:lnTo>
                    <a:pt x="84" y="54"/>
                  </a:lnTo>
                  <a:lnTo>
                    <a:pt x="104" y="75"/>
                  </a:lnTo>
                  <a:lnTo>
                    <a:pt x="119" y="95"/>
                  </a:lnTo>
                  <a:lnTo>
                    <a:pt x="136" y="105"/>
                  </a:lnTo>
                  <a:lnTo>
                    <a:pt x="143" y="105"/>
                  </a:lnTo>
                  <a:lnTo>
                    <a:pt x="145" y="108"/>
                  </a:lnTo>
                  <a:lnTo>
                    <a:pt x="143" y="110"/>
                  </a:lnTo>
                  <a:lnTo>
                    <a:pt x="143" y="114"/>
                  </a:lnTo>
                  <a:lnTo>
                    <a:pt x="156" y="120"/>
                  </a:lnTo>
                  <a:lnTo>
                    <a:pt x="171" y="125"/>
                  </a:lnTo>
                  <a:lnTo>
                    <a:pt x="184" y="138"/>
                  </a:lnTo>
                  <a:lnTo>
                    <a:pt x="184" y="144"/>
                  </a:lnTo>
                  <a:lnTo>
                    <a:pt x="177" y="144"/>
                  </a:lnTo>
                  <a:lnTo>
                    <a:pt x="173" y="140"/>
                  </a:lnTo>
                  <a:lnTo>
                    <a:pt x="171" y="136"/>
                  </a:lnTo>
                  <a:lnTo>
                    <a:pt x="160" y="133"/>
                  </a:lnTo>
                  <a:lnTo>
                    <a:pt x="158" y="136"/>
                  </a:lnTo>
                  <a:lnTo>
                    <a:pt x="151" y="149"/>
                  </a:lnTo>
                  <a:lnTo>
                    <a:pt x="158" y="151"/>
                  </a:lnTo>
                  <a:lnTo>
                    <a:pt x="160" y="151"/>
                  </a:lnTo>
                  <a:lnTo>
                    <a:pt x="164" y="164"/>
                  </a:lnTo>
                  <a:lnTo>
                    <a:pt x="156" y="166"/>
                  </a:lnTo>
                  <a:lnTo>
                    <a:pt x="156" y="174"/>
                  </a:lnTo>
                  <a:lnTo>
                    <a:pt x="149" y="181"/>
                  </a:lnTo>
                  <a:lnTo>
                    <a:pt x="143" y="185"/>
                  </a:lnTo>
                  <a:lnTo>
                    <a:pt x="143" y="179"/>
                  </a:lnTo>
                  <a:lnTo>
                    <a:pt x="145" y="174"/>
                  </a:lnTo>
                  <a:lnTo>
                    <a:pt x="145" y="170"/>
                  </a:lnTo>
                  <a:lnTo>
                    <a:pt x="149" y="166"/>
                  </a:lnTo>
                  <a:lnTo>
                    <a:pt x="141" y="140"/>
                  </a:lnTo>
                  <a:lnTo>
                    <a:pt x="136" y="140"/>
                  </a:lnTo>
                  <a:lnTo>
                    <a:pt x="130" y="138"/>
                  </a:lnTo>
                  <a:lnTo>
                    <a:pt x="130" y="136"/>
                  </a:lnTo>
                  <a:lnTo>
                    <a:pt x="128" y="129"/>
                  </a:lnTo>
                  <a:lnTo>
                    <a:pt x="119" y="129"/>
                  </a:lnTo>
                  <a:lnTo>
                    <a:pt x="119" y="125"/>
                  </a:lnTo>
                  <a:lnTo>
                    <a:pt x="115" y="125"/>
                  </a:lnTo>
                  <a:lnTo>
                    <a:pt x="113" y="123"/>
                  </a:lnTo>
                  <a:lnTo>
                    <a:pt x="113" y="116"/>
                  </a:lnTo>
                  <a:lnTo>
                    <a:pt x="100" y="116"/>
                  </a:lnTo>
                  <a:lnTo>
                    <a:pt x="89" y="114"/>
                  </a:lnTo>
                  <a:lnTo>
                    <a:pt x="80" y="101"/>
                  </a:lnTo>
                  <a:lnTo>
                    <a:pt x="78" y="99"/>
                  </a:lnTo>
                  <a:lnTo>
                    <a:pt x="69" y="90"/>
                  </a:lnTo>
                  <a:lnTo>
                    <a:pt x="63" y="86"/>
                  </a:lnTo>
                  <a:lnTo>
                    <a:pt x="56" y="86"/>
                  </a:lnTo>
                  <a:lnTo>
                    <a:pt x="59" y="79"/>
                  </a:lnTo>
                  <a:lnTo>
                    <a:pt x="56" y="75"/>
                  </a:lnTo>
                  <a:lnTo>
                    <a:pt x="54" y="69"/>
                  </a:lnTo>
                  <a:lnTo>
                    <a:pt x="50" y="60"/>
                  </a:lnTo>
                  <a:lnTo>
                    <a:pt x="39" y="60"/>
                  </a:lnTo>
                  <a:lnTo>
                    <a:pt x="33" y="60"/>
                  </a:lnTo>
                  <a:lnTo>
                    <a:pt x="24" y="60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8" y="64"/>
                  </a:lnTo>
                  <a:lnTo>
                    <a:pt x="20" y="60"/>
                  </a:lnTo>
                  <a:lnTo>
                    <a:pt x="13" y="60"/>
                  </a:lnTo>
                  <a:lnTo>
                    <a:pt x="7" y="60"/>
                  </a:lnTo>
                  <a:lnTo>
                    <a:pt x="5" y="43"/>
                  </a:lnTo>
                  <a:lnTo>
                    <a:pt x="0" y="38"/>
                  </a:lnTo>
                  <a:lnTo>
                    <a:pt x="7" y="38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18" y="21"/>
                  </a:lnTo>
                  <a:lnTo>
                    <a:pt x="20" y="23"/>
                  </a:lnTo>
                  <a:lnTo>
                    <a:pt x="24" y="19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3"/>
                  </a:lnTo>
                  <a:lnTo>
                    <a:pt x="43" y="13"/>
                  </a:lnTo>
                  <a:lnTo>
                    <a:pt x="48" y="15"/>
                  </a:lnTo>
                  <a:lnTo>
                    <a:pt x="50" y="15"/>
                  </a:lnTo>
                  <a:lnTo>
                    <a:pt x="54" y="19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9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3" name="Freeform 26"/>
            <p:cNvSpPr>
              <a:spLocks noChangeAspect="1"/>
            </p:cNvSpPr>
            <p:nvPr/>
          </p:nvSpPr>
          <p:spPr bwMode="auto">
            <a:xfrm>
              <a:off x="2823" y="2019"/>
              <a:ext cx="50" cy="26"/>
            </a:xfrm>
            <a:custGeom>
              <a:avLst/>
              <a:gdLst>
                <a:gd name="T0" fmla="*/ 396 w 45"/>
                <a:gd name="T1" fmla="*/ 26 h 26"/>
                <a:gd name="T2" fmla="*/ 311 w 45"/>
                <a:gd name="T3" fmla="*/ 23 h 26"/>
                <a:gd name="T4" fmla="*/ 277 w 45"/>
                <a:gd name="T5" fmla="*/ 19 h 26"/>
                <a:gd name="T6" fmla="*/ 202 w 45"/>
                <a:gd name="T7" fmla="*/ 17 h 26"/>
                <a:gd name="T8" fmla="*/ 70 w 45"/>
                <a:gd name="T9" fmla="*/ 11 h 26"/>
                <a:gd name="T10" fmla="*/ 0 w 45"/>
                <a:gd name="T11" fmla="*/ 8 h 26"/>
                <a:gd name="T12" fmla="*/ 0 w 45"/>
                <a:gd name="T13" fmla="*/ 2 h 26"/>
                <a:gd name="T14" fmla="*/ 4 w 45"/>
                <a:gd name="T15" fmla="*/ 0 h 26"/>
                <a:gd name="T16" fmla="*/ 70 w 45"/>
                <a:gd name="T17" fmla="*/ 2 h 26"/>
                <a:gd name="T18" fmla="*/ 108 w 45"/>
                <a:gd name="T19" fmla="*/ 0 h 26"/>
                <a:gd name="T20" fmla="*/ 108 w 45"/>
                <a:gd name="T21" fmla="*/ 0 h 26"/>
                <a:gd name="T22" fmla="*/ 210 w 45"/>
                <a:gd name="T23" fmla="*/ 2 h 26"/>
                <a:gd name="T24" fmla="*/ 437 w 45"/>
                <a:gd name="T25" fmla="*/ 0 h 26"/>
                <a:gd name="T26" fmla="*/ 437 w 45"/>
                <a:gd name="T27" fmla="*/ 6 h 26"/>
                <a:gd name="T28" fmla="*/ 396 w 45"/>
                <a:gd name="T29" fmla="*/ 11 h 26"/>
                <a:gd name="T30" fmla="*/ 437 w 45"/>
                <a:gd name="T31" fmla="*/ 19 h 26"/>
                <a:gd name="T32" fmla="*/ 396 w 45"/>
                <a:gd name="T33" fmla="*/ 26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5"/>
                <a:gd name="T52" fmla="*/ 0 h 26"/>
                <a:gd name="T53" fmla="*/ 45 w 45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5" h="26">
                  <a:moveTo>
                    <a:pt x="41" y="26"/>
                  </a:moveTo>
                  <a:lnTo>
                    <a:pt x="32" y="23"/>
                  </a:lnTo>
                  <a:lnTo>
                    <a:pt x="28" y="19"/>
                  </a:lnTo>
                  <a:lnTo>
                    <a:pt x="20" y="17"/>
                  </a:lnTo>
                  <a:lnTo>
                    <a:pt x="7" y="11"/>
                  </a:lnTo>
                  <a:lnTo>
                    <a:pt x="0" y="8"/>
                  </a:lnTo>
                  <a:lnTo>
                    <a:pt x="0" y="2"/>
                  </a:lnTo>
                  <a:lnTo>
                    <a:pt x="4" y="0"/>
                  </a:lnTo>
                  <a:lnTo>
                    <a:pt x="7" y="2"/>
                  </a:lnTo>
                  <a:lnTo>
                    <a:pt x="11" y="0"/>
                  </a:lnTo>
                  <a:lnTo>
                    <a:pt x="22" y="2"/>
                  </a:lnTo>
                  <a:lnTo>
                    <a:pt x="45" y="0"/>
                  </a:lnTo>
                  <a:lnTo>
                    <a:pt x="45" y="6"/>
                  </a:lnTo>
                  <a:lnTo>
                    <a:pt x="41" y="11"/>
                  </a:lnTo>
                  <a:lnTo>
                    <a:pt x="45" y="19"/>
                  </a:lnTo>
                  <a:lnTo>
                    <a:pt x="41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4" name="Freeform 27"/>
            <p:cNvSpPr>
              <a:spLocks noChangeAspect="1"/>
            </p:cNvSpPr>
            <p:nvPr/>
          </p:nvSpPr>
          <p:spPr bwMode="auto">
            <a:xfrm>
              <a:off x="2747" y="1959"/>
              <a:ext cx="28" cy="45"/>
            </a:xfrm>
            <a:custGeom>
              <a:avLst/>
              <a:gdLst>
                <a:gd name="T0" fmla="*/ 54 w 26"/>
                <a:gd name="T1" fmla="*/ 64 h 44"/>
                <a:gd name="T2" fmla="*/ 40 w 26"/>
                <a:gd name="T3" fmla="*/ 59 h 44"/>
                <a:gd name="T4" fmla="*/ 40 w 26"/>
                <a:gd name="T5" fmla="*/ 51 h 44"/>
                <a:gd name="T6" fmla="*/ 40 w 26"/>
                <a:gd name="T7" fmla="*/ 49 h 44"/>
                <a:gd name="T8" fmla="*/ 40 w 26"/>
                <a:gd name="T9" fmla="*/ 20 h 44"/>
                <a:gd name="T10" fmla="*/ 40 w 26"/>
                <a:gd name="T11" fmla="*/ 18 h 44"/>
                <a:gd name="T12" fmla="*/ 0 w 26"/>
                <a:gd name="T13" fmla="*/ 9 h 44"/>
                <a:gd name="T14" fmla="*/ 2 w 26"/>
                <a:gd name="T15" fmla="*/ 7 h 44"/>
                <a:gd name="T16" fmla="*/ 40 w 26"/>
                <a:gd name="T17" fmla="*/ 7 h 44"/>
                <a:gd name="T18" fmla="*/ 84 w 26"/>
                <a:gd name="T19" fmla="*/ 0 h 44"/>
                <a:gd name="T20" fmla="*/ 97 w 26"/>
                <a:gd name="T21" fmla="*/ 0 h 44"/>
                <a:gd name="T22" fmla="*/ 130 w 26"/>
                <a:gd name="T23" fmla="*/ 13 h 44"/>
                <a:gd name="T24" fmla="*/ 121 w 26"/>
                <a:gd name="T25" fmla="*/ 16 h 44"/>
                <a:gd name="T26" fmla="*/ 121 w 26"/>
                <a:gd name="T27" fmla="*/ 18 h 44"/>
                <a:gd name="T28" fmla="*/ 97 w 26"/>
                <a:gd name="T29" fmla="*/ 59 h 44"/>
                <a:gd name="T30" fmla="*/ 72 w 26"/>
                <a:gd name="T31" fmla="*/ 55 h 44"/>
                <a:gd name="T32" fmla="*/ 54 w 26"/>
                <a:gd name="T33" fmla="*/ 64 h 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"/>
                <a:gd name="T52" fmla="*/ 0 h 44"/>
                <a:gd name="T53" fmla="*/ 26 w 26"/>
                <a:gd name="T54" fmla="*/ 44 h 4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" h="44">
                  <a:moveTo>
                    <a:pt x="11" y="44"/>
                  </a:moveTo>
                  <a:lnTo>
                    <a:pt x="7" y="39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0" y="9"/>
                  </a:lnTo>
                  <a:lnTo>
                    <a:pt x="2" y="7"/>
                  </a:lnTo>
                  <a:lnTo>
                    <a:pt x="7" y="7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6" y="13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19" y="39"/>
                  </a:lnTo>
                  <a:lnTo>
                    <a:pt x="15" y="35"/>
                  </a:lnTo>
                  <a:lnTo>
                    <a:pt x="11" y="4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5" name="Freeform 28"/>
            <p:cNvSpPr>
              <a:spLocks noChangeAspect="1"/>
            </p:cNvSpPr>
            <p:nvPr/>
          </p:nvSpPr>
          <p:spPr bwMode="auto">
            <a:xfrm>
              <a:off x="2704" y="1769"/>
              <a:ext cx="16" cy="15"/>
            </a:xfrm>
            <a:custGeom>
              <a:avLst/>
              <a:gdLst>
                <a:gd name="T0" fmla="*/ 0 w 15"/>
                <a:gd name="T1" fmla="*/ 15 h 15"/>
                <a:gd name="T2" fmla="*/ 0 w 15"/>
                <a:gd name="T3" fmla="*/ 6 h 15"/>
                <a:gd name="T4" fmla="*/ 5 w 15"/>
                <a:gd name="T5" fmla="*/ 2 h 15"/>
                <a:gd name="T6" fmla="*/ 45 w 15"/>
                <a:gd name="T7" fmla="*/ 0 h 15"/>
                <a:gd name="T8" fmla="*/ 39 w 15"/>
                <a:gd name="T9" fmla="*/ 6 h 15"/>
                <a:gd name="T10" fmla="*/ 58 w 15"/>
                <a:gd name="T11" fmla="*/ 6 h 15"/>
                <a:gd name="T12" fmla="*/ 58 w 15"/>
                <a:gd name="T13" fmla="*/ 15 h 15"/>
                <a:gd name="T14" fmla="*/ 39 w 15"/>
                <a:gd name="T15" fmla="*/ 15 h 15"/>
                <a:gd name="T16" fmla="*/ 0 w 15"/>
                <a:gd name="T17" fmla="*/ 15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5"/>
                <a:gd name="T29" fmla="*/ 15 w 15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5">
                  <a:moveTo>
                    <a:pt x="0" y="15"/>
                  </a:moveTo>
                  <a:lnTo>
                    <a:pt x="0" y="6"/>
                  </a:lnTo>
                  <a:lnTo>
                    <a:pt x="5" y="2"/>
                  </a:lnTo>
                  <a:lnTo>
                    <a:pt x="11" y="0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5" y="15"/>
                  </a:lnTo>
                  <a:lnTo>
                    <a:pt x="9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6" name="Freeform 29"/>
            <p:cNvSpPr>
              <a:spLocks noChangeAspect="1"/>
            </p:cNvSpPr>
            <p:nvPr/>
          </p:nvSpPr>
          <p:spPr bwMode="auto">
            <a:xfrm>
              <a:off x="2854" y="2059"/>
              <a:ext cx="5" cy="6"/>
            </a:xfrm>
            <a:custGeom>
              <a:avLst/>
              <a:gdLst>
                <a:gd name="T0" fmla="*/ 456 w 4"/>
                <a:gd name="T1" fmla="*/ 6 h 6"/>
                <a:gd name="T2" fmla="*/ 0 w 4"/>
                <a:gd name="T3" fmla="*/ 0 h 6"/>
                <a:gd name="T4" fmla="*/ 456 w 4"/>
                <a:gd name="T5" fmla="*/ 2 h 6"/>
                <a:gd name="T6" fmla="*/ 456 w 4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6"/>
                <a:gd name="T14" fmla="*/ 4 w 4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6">
                  <a:moveTo>
                    <a:pt x="4" y="6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7" name="Freeform 30"/>
            <p:cNvSpPr>
              <a:spLocks noChangeAspect="1"/>
            </p:cNvSpPr>
            <p:nvPr/>
          </p:nvSpPr>
          <p:spPr bwMode="auto">
            <a:xfrm>
              <a:off x="2669" y="1693"/>
              <a:ext cx="62" cy="66"/>
            </a:xfrm>
            <a:custGeom>
              <a:avLst/>
              <a:gdLst>
                <a:gd name="T0" fmla="*/ 0 w 56"/>
                <a:gd name="T1" fmla="*/ 72 h 65"/>
                <a:gd name="T2" fmla="*/ 0 w 56"/>
                <a:gd name="T3" fmla="*/ 66 h 65"/>
                <a:gd name="T4" fmla="*/ 4 w 56"/>
                <a:gd name="T5" fmla="*/ 61 h 65"/>
                <a:gd name="T6" fmla="*/ 130 w 56"/>
                <a:gd name="T7" fmla="*/ 61 h 65"/>
                <a:gd name="T8" fmla="*/ 61 w 56"/>
                <a:gd name="T9" fmla="*/ 59 h 65"/>
                <a:gd name="T10" fmla="*/ 4 w 56"/>
                <a:gd name="T11" fmla="*/ 57 h 65"/>
                <a:gd name="T12" fmla="*/ 102 w 56"/>
                <a:gd name="T13" fmla="*/ 26 h 65"/>
                <a:gd name="T14" fmla="*/ 130 w 56"/>
                <a:gd name="T15" fmla="*/ 11 h 65"/>
                <a:gd name="T16" fmla="*/ 195 w 56"/>
                <a:gd name="T17" fmla="*/ 22 h 65"/>
                <a:gd name="T18" fmla="*/ 239 w 56"/>
                <a:gd name="T19" fmla="*/ 30 h 65"/>
                <a:gd name="T20" fmla="*/ 278 w 56"/>
                <a:gd name="T21" fmla="*/ 55 h 65"/>
                <a:gd name="T22" fmla="*/ 239 w 56"/>
                <a:gd name="T23" fmla="*/ 24 h 65"/>
                <a:gd name="T24" fmla="*/ 278 w 56"/>
                <a:gd name="T25" fmla="*/ 18 h 65"/>
                <a:gd name="T26" fmla="*/ 239 w 56"/>
                <a:gd name="T27" fmla="*/ 18 h 65"/>
                <a:gd name="T28" fmla="*/ 239 w 56"/>
                <a:gd name="T29" fmla="*/ 11 h 65"/>
                <a:gd name="T30" fmla="*/ 341 w 56"/>
                <a:gd name="T31" fmla="*/ 7 h 65"/>
                <a:gd name="T32" fmla="*/ 415 w 56"/>
                <a:gd name="T33" fmla="*/ 2 h 65"/>
                <a:gd name="T34" fmla="*/ 425 w 56"/>
                <a:gd name="T35" fmla="*/ 9 h 65"/>
                <a:gd name="T36" fmla="*/ 425 w 56"/>
                <a:gd name="T37" fmla="*/ 7 h 65"/>
                <a:gd name="T38" fmla="*/ 471 w 56"/>
                <a:gd name="T39" fmla="*/ 0 h 65"/>
                <a:gd name="T40" fmla="*/ 514 w 56"/>
                <a:gd name="T41" fmla="*/ 11 h 65"/>
                <a:gd name="T42" fmla="*/ 471 w 56"/>
                <a:gd name="T43" fmla="*/ 22 h 65"/>
                <a:gd name="T44" fmla="*/ 415 w 56"/>
                <a:gd name="T45" fmla="*/ 22 h 65"/>
                <a:gd name="T46" fmla="*/ 425 w 56"/>
                <a:gd name="T47" fmla="*/ 57 h 65"/>
                <a:gd name="T48" fmla="*/ 384 w 56"/>
                <a:gd name="T49" fmla="*/ 57 h 65"/>
                <a:gd name="T50" fmla="*/ 341 w 56"/>
                <a:gd name="T51" fmla="*/ 59 h 65"/>
                <a:gd name="T52" fmla="*/ 384 w 56"/>
                <a:gd name="T53" fmla="*/ 70 h 65"/>
                <a:gd name="T54" fmla="*/ 378 w 56"/>
                <a:gd name="T55" fmla="*/ 76 h 65"/>
                <a:gd name="T56" fmla="*/ 378 w 56"/>
                <a:gd name="T57" fmla="*/ 85 h 65"/>
                <a:gd name="T58" fmla="*/ 278 w 56"/>
                <a:gd name="T59" fmla="*/ 81 h 65"/>
                <a:gd name="T60" fmla="*/ 293 w 56"/>
                <a:gd name="T61" fmla="*/ 74 h 65"/>
                <a:gd name="T62" fmla="*/ 239 w 56"/>
                <a:gd name="T63" fmla="*/ 72 h 65"/>
                <a:gd name="T64" fmla="*/ 159 w 56"/>
                <a:gd name="T65" fmla="*/ 70 h 65"/>
                <a:gd name="T66" fmla="*/ 102 w 56"/>
                <a:gd name="T67" fmla="*/ 70 h 65"/>
                <a:gd name="T68" fmla="*/ 4 w 56"/>
                <a:gd name="T69" fmla="*/ 72 h 65"/>
                <a:gd name="T70" fmla="*/ 2 w 56"/>
                <a:gd name="T71" fmla="*/ 74 h 65"/>
                <a:gd name="T72" fmla="*/ 0 w 56"/>
                <a:gd name="T73" fmla="*/ 72 h 6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6"/>
                <a:gd name="T112" fmla="*/ 0 h 65"/>
                <a:gd name="T113" fmla="*/ 56 w 56"/>
                <a:gd name="T114" fmla="*/ 65 h 6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6" h="65">
                  <a:moveTo>
                    <a:pt x="0" y="52"/>
                  </a:moveTo>
                  <a:lnTo>
                    <a:pt x="0" y="46"/>
                  </a:lnTo>
                  <a:lnTo>
                    <a:pt x="4" y="41"/>
                  </a:lnTo>
                  <a:lnTo>
                    <a:pt x="15" y="41"/>
                  </a:lnTo>
                  <a:lnTo>
                    <a:pt x="6" y="39"/>
                  </a:lnTo>
                  <a:lnTo>
                    <a:pt x="4" y="37"/>
                  </a:lnTo>
                  <a:lnTo>
                    <a:pt x="11" y="26"/>
                  </a:lnTo>
                  <a:lnTo>
                    <a:pt x="15" y="11"/>
                  </a:lnTo>
                  <a:lnTo>
                    <a:pt x="21" y="22"/>
                  </a:lnTo>
                  <a:lnTo>
                    <a:pt x="26" y="30"/>
                  </a:lnTo>
                  <a:lnTo>
                    <a:pt x="30" y="35"/>
                  </a:lnTo>
                  <a:lnTo>
                    <a:pt x="26" y="24"/>
                  </a:lnTo>
                  <a:lnTo>
                    <a:pt x="30" y="18"/>
                  </a:lnTo>
                  <a:lnTo>
                    <a:pt x="26" y="18"/>
                  </a:lnTo>
                  <a:lnTo>
                    <a:pt x="26" y="11"/>
                  </a:lnTo>
                  <a:lnTo>
                    <a:pt x="37" y="7"/>
                  </a:lnTo>
                  <a:lnTo>
                    <a:pt x="45" y="2"/>
                  </a:lnTo>
                  <a:lnTo>
                    <a:pt x="47" y="9"/>
                  </a:lnTo>
                  <a:lnTo>
                    <a:pt x="47" y="7"/>
                  </a:lnTo>
                  <a:lnTo>
                    <a:pt x="52" y="0"/>
                  </a:lnTo>
                  <a:lnTo>
                    <a:pt x="56" y="11"/>
                  </a:lnTo>
                  <a:lnTo>
                    <a:pt x="52" y="22"/>
                  </a:lnTo>
                  <a:lnTo>
                    <a:pt x="45" y="22"/>
                  </a:lnTo>
                  <a:lnTo>
                    <a:pt x="47" y="37"/>
                  </a:lnTo>
                  <a:lnTo>
                    <a:pt x="43" y="37"/>
                  </a:lnTo>
                  <a:lnTo>
                    <a:pt x="37" y="39"/>
                  </a:lnTo>
                  <a:lnTo>
                    <a:pt x="43" y="50"/>
                  </a:lnTo>
                  <a:lnTo>
                    <a:pt x="41" y="56"/>
                  </a:lnTo>
                  <a:lnTo>
                    <a:pt x="41" y="65"/>
                  </a:lnTo>
                  <a:lnTo>
                    <a:pt x="30" y="61"/>
                  </a:lnTo>
                  <a:lnTo>
                    <a:pt x="32" y="54"/>
                  </a:lnTo>
                  <a:lnTo>
                    <a:pt x="26" y="52"/>
                  </a:lnTo>
                  <a:lnTo>
                    <a:pt x="17" y="50"/>
                  </a:lnTo>
                  <a:lnTo>
                    <a:pt x="11" y="50"/>
                  </a:lnTo>
                  <a:lnTo>
                    <a:pt x="4" y="52"/>
                  </a:lnTo>
                  <a:lnTo>
                    <a:pt x="2" y="5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8" name="Freeform 31"/>
            <p:cNvSpPr>
              <a:spLocks noChangeAspect="1"/>
            </p:cNvSpPr>
            <p:nvPr/>
          </p:nvSpPr>
          <p:spPr bwMode="auto">
            <a:xfrm>
              <a:off x="2685" y="1237"/>
              <a:ext cx="364" cy="352"/>
            </a:xfrm>
            <a:custGeom>
              <a:avLst/>
              <a:gdLst>
                <a:gd name="T0" fmla="*/ 2562 w 330"/>
                <a:gd name="T1" fmla="*/ 59 h 346"/>
                <a:gd name="T2" fmla="*/ 2302 w 330"/>
                <a:gd name="T3" fmla="*/ 50 h 346"/>
                <a:gd name="T4" fmla="*/ 2150 w 330"/>
                <a:gd name="T5" fmla="*/ 79 h 346"/>
                <a:gd name="T6" fmla="*/ 1994 w 330"/>
                <a:gd name="T7" fmla="*/ 81 h 346"/>
                <a:gd name="T8" fmla="*/ 1696 w 330"/>
                <a:gd name="T9" fmla="*/ 70 h 346"/>
                <a:gd name="T10" fmla="*/ 1602 w 330"/>
                <a:gd name="T11" fmla="*/ 81 h 346"/>
                <a:gd name="T12" fmla="*/ 1449 w 330"/>
                <a:gd name="T13" fmla="*/ 87 h 346"/>
                <a:gd name="T14" fmla="*/ 1289 w 330"/>
                <a:gd name="T15" fmla="*/ 117 h 346"/>
                <a:gd name="T16" fmla="*/ 1169 w 330"/>
                <a:gd name="T17" fmla="*/ 166 h 346"/>
                <a:gd name="T18" fmla="*/ 994 w 330"/>
                <a:gd name="T19" fmla="*/ 246 h 346"/>
                <a:gd name="T20" fmla="*/ 901 w 330"/>
                <a:gd name="T21" fmla="*/ 267 h 346"/>
                <a:gd name="T22" fmla="*/ 837 w 330"/>
                <a:gd name="T23" fmla="*/ 327 h 346"/>
                <a:gd name="T24" fmla="*/ 875 w 330"/>
                <a:gd name="T25" fmla="*/ 380 h 346"/>
                <a:gd name="T26" fmla="*/ 837 w 330"/>
                <a:gd name="T27" fmla="*/ 422 h 346"/>
                <a:gd name="T28" fmla="*/ 687 w 330"/>
                <a:gd name="T29" fmla="*/ 422 h 346"/>
                <a:gd name="T30" fmla="*/ 672 w 330"/>
                <a:gd name="T31" fmla="*/ 442 h 346"/>
                <a:gd name="T32" fmla="*/ 465 w 330"/>
                <a:gd name="T33" fmla="*/ 473 h 346"/>
                <a:gd name="T34" fmla="*/ 75 w 330"/>
                <a:gd name="T35" fmla="*/ 452 h 346"/>
                <a:gd name="T36" fmla="*/ 92 w 330"/>
                <a:gd name="T37" fmla="*/ 442 h 346"/>
                <a:gd name="T38" fmla="*/ 122 w 330"/>
                <a:gd name="T39" fmla="*/ 422 h 346"/>
                <a:gd name="T40" fmla="*/ 92 w 330"/>
                <a:gd name="T41" fmla="*/ 414 h 346"/>
                <a:gd name="T42" fmla="*/ 2 w 330"/>
                <a:gd name="T43" fmla="*/ 380 h 346"/>
                <a:gd name="T44" fmla="*/ 269 w 330"/>
                <a:gd name="T45" fmla="*/ 375 h 346"/>
                <a:gd name="T46" fmla="*/ 2 w 330"/>
                <a:gd name="T47" fmla="*/ 366 h 346"/>
                <a:gd name="T48" fmla="*/ 186 w 330"/>
                <a:gd name="T49" fmla="*/ 354 h 346"/>
                <a:gd name="T50" fmla="*/ 122 w 330"/>
                <a:gd name="T51" fmla="*/ 338 h 346"/>
                <a:gd name="T52" fmla="*/ 122 w 330"/>
                <a:gd name="T53" fmla="*/ 327 h 346"/>
                <a:gd name="T54" fmla="*/ 213 w 330"/>
                <a:gd name="T55" fmla="*/ 316 h 346"/>
                <a:gd name="T56" fmla="*/ 343 w 330"/>
                <a:gd name="T57" fmla="*/ 307 h 346"/>
                <a:gd name="T58" fmla="*/ 418 w 330"/>
                <a:gd name="T59" fmla="*/ 297 h 346"/>
                <a:gd name="T60" fmla="*/ 718 w 330"/>
                <a:gd name="T61" fmla="*/ 275 h 346"/>
                <a:gd name="T62" fmla="*/ 601 w 330"/>
                <a:gd name="T63" fmla="*/ 275 h 346"/>
                <a:gd name="T64" fmla="*/ 718 w 330"/>
                <a:gd name="T65" fmla="*/ 246 h 346"/>
                <a:gd name="T66" fmla="*/ 806 w 330"/>
                <a:gd name="T67" fmla="*/ 220 h 346"/>
                <a:gd name="T68" fmla="*/ 806 w 330"/>
                <a:gd name="T69" fmla="*/ 208 h 346"/>
                <a:gd name="T70" fmla="*/ 994 w 330"/>
                <a:gd name="T71" fmla="*/ 175 h 346"/>
                <a:gd name="T72" fmla="*/ 1144 w 330"/>
                <a:gd name="T73" fmla="*/ 144 h 346"/>
                <a:gd name="T74" fmla="*/ 1144 w 330"/>
                <a:gd name="T75" fmla="*/ 140 h 346"/>
                <a:gd name="T76" fmla="*/ 1060 w 330"/>
                <a:gd name="T77" fmla="*/ 129 h 346"/>
                <a:gd name="T78" fmla="*/ 1209 w 330"/>
                <a:gd name="T79" fmla="*/ 121 h 346"/>
                <a:gd name="T80" fmla="*/ 1345 w 330"/>
                <a:gd name="T81" fmla="*/ 101 h 346"/>
                <a:gd name="T82" fmla="*/ 1289 w 330"/>
                <a:gd name="T83" fmla="*/ 87 h 346"/>
                <a:gd name="T84" fmla="*/ 1289 w 330"/>
                <a:gd name="T85" fmla="*/ 79 h 346"/>
                <a:gd name="T86" fmla="*/ 1508 w 330"/>
                <a:gd name="T87" fmla="*/ 72 h 346"/>
                <a:gd name="T88" fmla="*/ 1561 w 330"/>
                <a:gd name="T89" fmla="*/ 66 h 346"/>
                <a:gd name="T90" fmla="*/ 1639 w 330"/>
                <a:gd name="T91" fmla="*/ 66 h 346"/>
                <a:gd name="T92" fmla="*/ 1763 w 330"/>
                <a:gd name="T93" fmla="*/ 50 h 346"/>
                <a:gd name="T94" fmla="*/ 1871 w 330"/>
                <a:gd name="T95" fmla="*/ 26 h 346"/>
                <a:gd name="T96" fmla="*/ 1992 w 330"/>
                <a:gd name="T97" fmla="*/ 11 h 346"/>
                <a:gd name="T98" fmla="*/ 2087 w 330"/>
                <a:gd name="T99" fmla="*/ 24 h 346"/>
                <a:gd name="T100" fmla="*/ 2253 w 330"/>
                <a:gd name="T101" fmla="*/ 20 h 346"/>
                <a:gd name="T102" fmla="*/ 2271 w 330"/>
                <a:gd name="T103" fmla="*/ 0 h 346"/>
                <a:gd name="T104" fmla="*/ 2424 w 330"/>
                <a:gd name="T105" fmla="*/ 11 h 346"/>
                <a:gd name="T106" fmla="*/ 2530 w 330"/>
                <a:gd name="T107" fmla="*/ 9 h 346"/>
                <a:gd name="T108" fmla="*/ 2684 w 330"/>
                <a:gd name="T109" fmla="*/ 20 h 346"/>
                <a:gd name="T110" fmla="*/ 2633 w 330"/>
                <a:gd name="T111" fmla="*/ 50 h 3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0"/>
                <a:gd name="T169" fmla="*/ 0 h 346"/>
                <a:gd name="T170" fmla="*/ 330 w 330"/>
                <a:gd name="T171" fmla="*/ 346 h 3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0" h="346">
                  <a:moveTo>
                    <a:pt x="321" y="37"/>
                  </a:moveTo>
                  <a:lnTo>
                    <a:pt x="317" y="37"/>
                  </a:lnTo>
                  <a:lnTo>
                    <a:pt x="302" y="54"/>
                  </a:lnTo>
                  <a:lnTo>
                    <a:pt x="304" y="46"/>
                  </a:lnTo>
                  <a:lnTo>
                    <a:pt x="306" y="39"/>
                  </a:lnTo>
                  <a:lnTo>
                    <a:pt x="302" y="35"/>
                  </a:lnTo>
                  <a:lnTo>
                    <a:pt x="291" y="30"/>
                  </a:lnTo>
                  <a:lnTo>
                    <a:pt x="289" y="26"/>
                  </a:lnTo>
                  <a:lnTo>
                    <a:pt x="280" y="30"/>
                  </a:lnTo>
                  <a:lnTo>
                    <a:pt x="276" y="30"/>
                  </a:lnTo>
                  <a:lnTo>
                    <a:pt x="270" y="30"/>
                  </a:lnTo>
                  <a:lnTo>
                    <a:pt x="265" y="39"/>
                  </a:lnTo>
                  <a:lnTo>
                    <a:pt x="265" y="50"/>
                  </a:lnTo>
                  <a:lnTo>
                    <a:pt x="265" y="59"/>
                  </a:lnTo>
                  <a:lnTo>
                    <a:pt x="257" y="59"/>
                  </a:lnTo>
                  <a:lnTo>
                    <a:pt x="257" y="65"/>
                  </a:lnTo>
                  <a:lnTo>
                    <a:pt x="255" y="65"/>
                  </a:lnTo>
                  <a:lnTo>
                    <a:pt x="250" y="61"/>
                  </a:lnTo>
                  <a:lnTo>
                    <a:pt x="242" y="59"/>
                  </a:lnTo>
                  <a:lnTo>
                    <a:pt x="239" y="61"/>
                  </a:lnTo>
                  <a:lnTo>
                    <a:pt x="233" y="61"/>
                  </a:lnTo>
                  <a:lnTo>
                    <a:pt x="224" y="61"/>
                  </a:lnTo>
                  <a:lnTo>
                    <a:pt x="216" y="52"/>
                  </a:lnTo>
                  <a:lnTo>
                    <a:pt x="205" y="50"/>
                  </a:lnTo>
                  <a:lnTo>
                    <a:pt x="203" y="50"/>
                  </a:lnTo>
                  <a:lnTo>
                    <a:pt x="205" y="54"/>
                  </a:lnTo>
                  <a:lnTo>
                    <a:pt x="201" y="52"/>
                  </a:lnTo>
                  <a:lnTo>
                    <a:pt x="201" y="54"/>
                  </a:lnTo>
                  <a:lnTo>
                    <a:pt x="192" y="54"/>
                  </a:lnTo>
                  <a:lnTo>
                    <a:pt x="192" y="61"/>
                  </a:lnTo>
                  <a:lnTo>
                    <a:pt x="192" y="67"/>
                  </a:lnTo>
                  <a:lnTo>
                    <a:pt x="196" y="69"/>
                  </a:lnTo>
                  <a:lnTo>
                    <a:pt x="192" y="74"/>
                  </a:lnTo>
                  <a:lnTo>
                    <a:pt x="181" y="69"/>
                  </a:lnTo>
                  <a:lnTo>
                    <a:pt x="173" y="67"/>
                  </a:lnTo>
                  <a:lnTo>
                    <a:pt x="170" y="69"/>
                  </a:lnTo>
                  <a:lnTo>
                    <a:pt x="170" y="76"/>
                  </a:lnTo>
                  <a:lnTo>
                    <a:pt x="170" y="82"/>
                  </a:lnTo>
                  <a:lnTo>
                    <a:pt x="160" y="80"/>
                  </a:lnTo>
                  <a:lnTo>
                    <a:pt x="153" y="82"/>
                  </a:lnTo>
                  <a:lnTo>
                    <a:pt x="153" y="89"/>
                  </a:lnTo>
                  <a:lnTo>
                    <a:pt x="147" y="95"/>
                  </a:lnTo>
                  <a:lnTo>
                    <a:pt x="151" y="104"/>
                  </a:lnTo>
                  <a:lnTo>
                    <a:pt x="147" y="106"/>
                  </a:lnTo>
                  <a:lnTo>
                    <a:pt x="138" y="119"/>
                  </a:lnTo>
                  <a:lnTo>
                    <a:pt x="138" y="125"/>
                  </a:lnTo>
                  <a:lnTo>
                    <a:pt x="129" y="132"/>
                  </a:lnTo>
                  <a:lnTo>
                    <a:pt x="129" y="149"/>
                  </a:lnTo>
                  <a:lnTo>
                    <a:pt x="125" y="162"/>
                  </a:lnTo>
                  <a:lnTo>
                    <a:pt x="119" y="175"/>
                  </a:lnTo>
                  <a:lnTo>
                    <a:pt x="125" y="179"/>
                  </a:lnTo>
                  <a:lnTo>
                    <a:pt x="125" y="182"/>
                  </a:lnTo>
                  <a:lnTo>
                    <a:pt x="125" y="190"/>
                  </a:lnTo>
                  <a:lnTo>
                    <a:pt x="112" y="186"/>
                  </a:lnTo>
                  <a:lnTo>
                    <a:pt x="108" y="190"/>
                  </a:lnTo>
                  <a:lnTo>
                    <a:pt x="97" y="199"/>
                  </a:lnTo>
                  <a:lnTo>
                    <a:pt x="97" y="210"/>
                  </a:lnTo>
                  <a:lnTo>
                    <a:pt x="101" y="214"/>
                  </a:lnTo>
                  <a:lnTo>
                    <a:pt x="97" y="220"/>
                  </a:lnTo>
                  <a:lnTo>
                    <a:pt x="101" y="233"/>
                  </a:lnTo>
                  <a:lnTo>
                    <a:pt x="104" y="251"/>
                  </a:lnTo>
                  <a:lnTo>
                    <a:pt x="108" y="255"/>
                  </a:lnTo>
                  <a:lnTo>
                    <a:pt x="112" y="259"/>
                  </a:lnTo>
                  <a:lnTo>
                    <a:pt x="110" y="266"/>
                  </a:lnTo>
                  <a:lnTo>
                    <a:pt x="104" y="270"/>
                  </a:lnTo>
                  <a:lnTo>
                    <a:pt x="110" y="281"/>
                  </a:lnTo>
                  <a:lnTo>
                    <a:pt x="110" y="290"/>
                  </a:lnTo>
                  <a:lnTo>
                    <a:pt x="108" y="298"/>
                  </a:lnTo>
                  <a:lnTo>
                    <a:pt x="101" y="298"/>
                  </a:lnTo>
                  <a:lnTo>
                    <a:pt x="101" y="300"/>
                  </a:lnTo>
                  <a:lnTo>
                    <a:pt x="97" y="302"/>
                  </a:lnTo>
                  <a:lnTo>
                    <a:pt x="97" y="320"/>
                  </a:lnTo>
                  <a:lnTo>
                    <a:pt x="88" y="318"/>
                  </a:lnTo>
                  <a:lnTo>
                    <a:pt x="82" y="313"/>
                  </a:lnTo>
                  <a:lnTo>
                    <a:pt x="82" y="300"/>
                  </a:lnTo>
                  <a:lnTo>
                    <a:pt x="82" y="298"/>
                  </a:lnTo>
                  <a:lnTo>
                    <a:pt x="80" y="300"/>
                  </a:lnTo>
                  <a:lnTo>
                    <a:pt x="80" y="305"/>
                  </a:lnTo>
                  <a:lnTo>
                    <a:pt x="75" y="305"/>
                  </a:lnTo>
                  <a:lnTo>
                    <a:pt x="80" y="313"/>
                  </a:lnTo>
                  <a:lnTo>
                    <a:pt x="71" y="320"/>
                  </a:lnTo>
                  <a:lnTo>
                    <a:pt x="67" y="315"/>
                  </a:lnTo>
                  <a:lnTo>
                    <a:pt x="65" y="318"/>
                  </a:lnTo>
                  <a:lnTo>
                    <a:pt x="67" y="320"/>
                  </a:lnTo>
                  <a:lnTo>
                    <a:pt x="56" y="335"/>
                  </a:lnTo>
                  <a:lnTo>
                    <a:pt x="50" y="343"/>
                  </a:lnTo>
                  <a:lnTo>
                    <a:pt x="32" y="346"/>
                  </a:lnTo>
                  <a:lnTo>
                    <a:pt x="22" y="339"/>
                  </a:lnTo>
                  <a:lnTo>
                    <a:pt x="9" y="328"/>
                  </a:lnTo>
                  <a:lnTo>
                    <a:pt x="9" y="320"/>
                  </a:lnTo>
                  <a:lnTo>
                    <a:pt x="17" y="324"/>
                  </a:lnTo>
                  <a:lnTo>
                    <a:pt x="15" y="318"/>
                  </a:lnTo>
                  <a:lnTo>
                    <a:pt x="17" y="309"/>
                  </a:lnTo>
                  <a:lnTo>
                    <a:pt x="15" y="309"/>
                  </a:lnTo>
                  <a:lnTo>
                    <a:pt x="11" y="313"/>
                  </a:lnTo>
                  <a:lnTo>
                    <a:pt x="6" y="318"/>
                  </a:lnTo>
                  <a:lnTo>
                    <a:pt x="2" y="313"/>
                  </a:lnTo>
                  <a:lnTo>
                    <a:pt x="9" y="302"/>
                  </a:lnTo>
                  <a:lnTo>
                    <a:pt x="11" y="302"/>
                  </a:lnTo>
                  <a:lnTo>
                    <a:pt x="15" y="300"/>
                  </a:lnTo>
                  <a:lnTo>
                    <a:pt x="11" y="300"/>
                  </a:lnTo>
                  <a:lnTo>
                    <a:pt x="17" y="294"/>
                  </a:lnTo>
                  <a:lnTo>
                    <a:pt x="26" y="285"/>
                  </a:lnTo>
                  <a:lnTo>
                    <a:pt x="15" y="290"/>
                  </a:lnTo>
                  <a:lnTo>
                    <a:pt x="11" y="294"/>
                  </a:lnTo>
                  <a:lnTo>
                    <a:pt x="9" y="290"/>
                  </a:lnTo>
                  <a:lnTo>
                    <a:pt x="6" y="294"/>
                  </a:lnTo>
                  <a:lnTo>
                    <a:pt x="6" y="285"/>
                  </a:lnTo>
                  <a:lnTo>
                    <a:pt x="2" y="274"/>
                  </a:lnTo>
                  <a:lnTo>
                    <a:pt x="2" y="270"/>
                  </a:lnTo>
                  <a:lnTo>
                    <a:pt x="22" y="270"/>
                  </a:lnTo>
                  <a:lnTo>
                    <a:pt x="32" y="270"/>
                  </a:lnTo>
                  <a:lnTo>
                    <a:pt x="37" y="266"/>
                  </a:lnTo>
                  <a:lnTo>
                    <a:pt x="32" y="264"/>
                  </a:lnTo>
                  <a:lnTo>
                    <a:pt x="32" y="266"/>
                  </a:lnTo>
                  <a:lnTo>
                    <a:pt x="26" y="266"/>
                  </a:lnTo>
                  <a:lnTo>
                    <a:pt x="22" y="266"/>
                  </a:lnTo>
                  <a:lnTo>
                    <a:pt x="6" y="266"/>
                  </a:lnTo>
                  <a:lnTo>
                    <a:pt x="2" y="264"/>
                  </a:lnTo>
                  <a:lnTo>
                    <a:pt x="2" y="259"/>
                  </a:lnTo>
                  <a:lnTo>
                    <a:pt x="6" y="257"/>
                  </a:lnTo>
                  <a:lnTo>
                    <a:pt x="0" y="255"/>
                  </a:lnTo>
                  <a:lnTo>
                    <a:pt x="6" y="251"/>
                  </a:lnTo>
                  <a:lnTo>
                    <a:pt x="17" y="251"/>
                  </a:lnTo>
                  <a:lnTo>
                    <a:pt x="22" y="251"/>
                  </a:lnTo>
                  <a:lnTo>
                    <a:pt x="11" y="244"/>
                  </a:lnTo>
                  <a:lnTo>
                    <a:pt x="2" y="244"/>
                  </a:lnTo>
                  <a:lnTo>
                    <a:pt x="2" y="242"/>
                  </a:lnTo>
                  <a:lnTo>
                    <a:pt x="9" y="242"/>
                  </a:lnTo>
                  <a:lnTo>
                    <a:pt x="15" y="240"/>
                  </a:lnTo>
                  <a:lnTo>
                    <a:pt x="26" y="236"/>
                  </a:lnTo>
                  <a:lnTo>
                    <a:pt x="26" y="240"/>
                  </a:lnTo>
                  <a:lnTo>
                    <a:pt x="30" y="240"/>
                  </a:lnTo>
                  <a:lnTo>
                    <a:pt x="26" y="233"/>
                  </a:lnTo>
                  <a:lnTo>
                    <a:pt x="15" y="233"/>
                  </a:lnTo>
                  <a:lnTo>
                    <a:pt x="15" y="229"/>
                  </a:lnTo>
                  <a:lnTo>
                    <a:pt x="26" y="225"/>
                  </a:lnTo>
                  <a:lnTo>
                    <a:pt x="30" y="229"/>
                  </a:lnTo>
                  <a:lnTo>
                    <a:pt x="39" y="225"/>
                  </a:lnTo>
                  <a:lnTo>
                    <a:pt x="26" y="225"/>
                  </a:lnTo>
                  <a:lnTo>
                    <a:pt x="26" y="220"/>
                  </a:lnTo>
                  <a:lnTo>
                    <a:pt x="37" y="225"/>
                  </a:lnTo>
                  <a:lnTo>
                    <a:pt x="45" y="225"/>
                  </a:lnTo>
                  <a:lnTo>
                    <a:pt x="39" y="220"/>
                  </a:lnTo>
                  <a:lnTo>
                    <a:pt x="41" y="218"/>
                  </a:lnTo>
                  <a:lnTo>
                    <a:pt x="52" y="225"/>
                  </a:lnTo>
                  <a:lnTo>
                    <a:pt x="50" y="218"/>
                  </a:lnTo>
                  <a:lnTo>
                    <a:pt x="45" y="214"/>
                  </a:lnTo>
                  <a:lnTo>
                    <a:pt x="50" y="214"/>
                  </a:lnTo>
                  <a:lnTo>
                    <a:pt x="50" y="210"/>
                  </a:lnTo>
                  <a:lnTo>
                    <a:pt x="65" y="201"/>
                  </a:lnTo>
                  <a:lnTo>
                    <a:pt x="67" y="210"/>
                  </a:lnTo>
                  <a:lnTo>
                    <a:pt x="80" y="205"/>
                  </a:lnTo>
                  <a:lnTo>
                    <a:pt x="86" y="197"/>
                  </a:lnTo>
                  <a:lnTo>
                    <a:pt x="86" y="195"/>
                  </a:lnTo>
                  <a:lnTo>
                    <a:pt x="86" y="190"/>
                  </a:lnTo>
                  <a:lnTo>
                    <a:pt x="80" y="197"/>
                  </a:lnTo>
                  <a:lnTo>
                    <a:pt x="71" y="205"/>
                  </a:lnTo>
                  <a:lnTo>
                    <a:pt x="60" y="199"/>
                  </a:lnTo>
                  <a:lnTo>
                    <a:pt x="71" y="195"/>
                  </a:lnTo>
                  <a:lnTo>
                    <a:pt x="71" y="190"/>
                  </a:lnTo>
                  <a:lnTo>
                    <a:pt x="80" y="179"/>
                  </a:lnTo>
                  <a:lnTo>
                    <a:pt x="86" y="182"/>
                  </a:lnTo>
                  <a:lnTo>
                    <a:pt x="88" y="175"/>
                  </a:lnTo>
                  <a:lnTo>
                    <a:pt x="86" y="175"/>
                  </a:lnTo>
                  <a:lnTo>
                    <a:pt x="93" y="164"/>
                  </a:lnTo>
                  <a:lnTo>
                    <a:pt x="95" y="160"/>
                  </a:lnTo>
                  <a:lnTo>
                    <a:pt x="101" y="162"/>
                  </a:lnTo>
                  <a:lnTo>
                    <a:pt x="104" y="156"/>
                  </a:lnTo>
                  <a:lnTo>
                    <a:pt x="97" y="156"/>
                  </a:lnTo>
                  <a:lnTo>
                    <a:pt x="97" y="154"/>
                  </a:lnTo>
                  <a:lnTo>
                    <a:pt x="95" y="156"/>
                  </a:lnTo>
                  <a:lnTo>
                    <a:pt x="95" y="147"/>
                  </a:lnTo>
                  <a:lnTo>
                    <a:pt x="101" y="149"/>
                  </a:lnTo>
                  <a:lnTo>
                    <a:pt x="97" y="147"/>
                  </a:lnTo>
                  <a:lnTo>
                    <a:pt x="101" y="138"/>
                  </a:lnTo>
                  <a:lnTo>
                    <a:pt x="108" y="138"/>
                  </a:lnTo>
                  <a:lnTo>
                    <a:pt x="104" y="132"/>
                  </a:lnTo>
                  <a:lnTo>
                    <a:pt x="119" y="130"/>
                  </a:lnTo>
                  <a:lnTo>
                    <a:pt x="119" y="125"/>
                  </a:lnTo>
                  <a:lnTo>
                    <a:pt x="104" y="130"/>
                  </a:lnTo>
                  <a:lnTo>
                    <a:pt x="104" y="119"/>
                  </a:lnTo>
                  <a:lnTo>
                    <a:pt x="110" y="110"/>
                  </a:lnTo>
                  <a:lnTo>
                    <a:pt x="116" y="104"/>
                  </a:lnTo>
                  <a:lnTo>
                    <a:pt x="136" y="104"/>
                  </a:lnTo>
                  <a:lnTo>
                    <a:pt x="136" y="102"/>
                  </a:lnTo>
                  <a:lnTo>
                    <a:pt x="119" y="102"/>
                  </a:lnTo>
                  <a:lnTo>
                    <a:pt x="129" y="95"/>
                  </a:lnTo>
                  <a:lnTo>
                    <a:pt x="132" y="95"/>
                  </a:lnTo>
                  <a:lnTo>
                    <a:pt x="136" y="100"/>
                  </a:lnTo>
                  <a:lnTo>
                    <a:pt x="136" y="95"/>
                  </a:lnTo>
                  <a:lnTo>
                    <a:pt x="132" y="91"/>
                  </a:lnTo>
                  <a:lnTo>
                    <a:pt x="136" y="89"/>
                  </a:lnTo>
                  <a:lnTo>
                    <a:pt x="129" y="91"/>
                  </a:lnTo>
                  <a:lnTo>
                    <a:pt x="125" y="89"/>
                  </a:lnTo>
                  <a:lnTo>
                    <a:pt x="136" y="84"/>
                  </a:lnTo>
                  <a:lnTo>
                    <a:pt x="138" y="84"/>
                  </a:lnTo>
                  <a:lnTo>
                    <a:pt x="138" y="82"/>
                  </a:lnTo>
                  <a:lnTo>
                    <a:pt x="145" y="82"/>
                  </a:lnTo>
                  <a:lnTo>
                    <a:pt x="145" y="84"/>
                  </a:lnTo>
                  <a:lnTo>
                    <a:pt x="147" y="82"/>
                  </a:lnTo>
                  <a:lnTo>
                    <a:pt x="145" y="82"/>
                  </a:lnTo>
                  <a:lnTo>
                    <a:pt x="147" y="74"/>
                  </a:lnTo>
                  <a:lnTo>
                    <a:pt x="153" y="74"/>
                  </a:lnTo>
                  <a:lnTo>
                    <a:pt x="160" y="74"/>
                  </a:lnTo>
                  <a:lnTo>
                    <a:pt x="160" y="69"/>
                  </a:lnTo>
                  <a:lnTo>
                    <a:pt x="153" y="74"/>
                  </a:lnTo>
                  <a:lnTo>
                    <a:pt x="147" y="74"/>
                  </a:lnTo>
                  <a:lnTo>
                    <a:pt x="151" y="67"/>
                  </a:lnTo>
                  <a:lnTo>
                    <a:pt x="153" y="67"/>
                  </a:lnTo>
                  <a:lnTo>
                    <a:pt x="160" y="61"/>
                  </a:lnTo>
                  <a:lnTo>
                    <a:pt x="160" y="59"/>
                  </a:lnTo>
                  <a:lnTo>
                    <a:pt x="162" y="54"/>
                  </a:lnTo>
                  <a:lnTo>
                    <a:pt x="160" y="54"/>
                  </a:lnTo>
                  <a:lnTo>
                    <a:pt x="153" y="59"/>
                  </a:lnTo>
                  <a:lnTo>
                    <a:pt x="151" y="54"/>
                  </a:lnTo>
                  <a:lnTo>
                    <a:pt x="153" y="50"/>
                  </a:lnTo>
                  <a:lnTo>
                    <a:pt x="173" y="46"/>
                  </a:lnTo>
                  <a:lnTo>
                    <a:pt x="177" y="52"/>
                  </a:lnTo>
                  <a:lnTo>
                    <a:pt x="181" y="52"/>
                  </a:lnTo>
                  <a:lnTo>
                    <a:pt x="181" y="50"/>
                  </a:lnTo>
                  <a:lnTo>
                    <a:pt x="175" y="50"/>
                  </a:lnTo>
                  <a:lnTo>
                    <a:pt x="173" y="41"/>
                  </a:lnTo>
                  <a:lnTo>
                    <a:pt x="181" y="37"/>
                  </a:lnTo>
                  <a:lnTo>
                    <a:pt x="186" y="46"/>
                  </a:lnTo>
                  <a:lnTo>
                    <a:pt x="186" y="39"/>
                  </a:lnTo>
                  <a:lnTo>
                    <a:pt x="188" y="37"/>
                  </a:lnTo>
                  <a:lnTo>
                    <a:pt x="190" y="50"/>
                  </a:lnTo>
                  <a:lnTo>
                    <a:pt x="192" y="50"/>
                  </a:lnTo>
                  <a:lnTo>
                    <a:pt x="196" y="46"/>
                  </a:lnTo>
                  <a:lnTo>
                    <a:pt x="192" y="39"/>
                  </a:lnTo>
                  <a:lnTo>
                    <a:pt x="201" y="37"/>
                  </a:lnTo>
                  <a:lnTo>
                    <a:pt x="203" y="35"/>
                  </a:lnTo>
                  <a:lnTo>
                    <a:pt x="211" y="39"/>
                  </a:lnTo>
                  <a:lnTo>
                    <a:pt x="211" y="30"/>
                  </a:lnTo>
                  <a:lnTo>
                    <a:pt x="205" y="30"/>
                  </a:lnTo>
                  <a:lnTo>
                    <a:pt x="201" y="24"/>
                  </a:lnTo>
                  <a:lnTo>
                    <a:pt x="209" y="24"/>
                  </a:lnTo>
                  <a:lnTo>
                    <a:pt x="222" y="24"/>
                  </a:lnTo>
                  <a:lnTo>
                    <a:pt x="224" y="26"/>
                  </a:lnTo>
                  <a:lnTo>
                    <a:pt x="231" y="22"/>
                  </a:lnTo>
                  <a:lnTo>
                    <a:pt x="231" y="11"/>
                  </a:lnTo>
                  <a:lnTo>
                    <a:pt x="237" y="20"/>
                  </a:lnTo>
                  <a:lnTo>
                    <a:pt x="239" y="15"/>
                  </a:lnTo>
                  <a:lnTo>
                    <a:pt x="237" y="11"/>
                  </a:lnTo>
                  <a:lnTo>
                    <a:pt x="239" y="5"/>
                  </a:lnTo>
                  <a:lnTo>
                    <a:pt x="250" y="5"/>
                  </a:lnTo>
                  <a:lnTo>
                    <a:pt x="255" y="5"/>
                  </a:lnTo>
                  <a:lnTo>
                    <a:pt x="250" y="15"/>
                  </a:lnTo>
                  <a:lnTo>
                    <a:pt x="250" y="24"/>
                  </a:lnTo>
                  <a:lnTo>
                    <a:pt x="252" y="26"/>
                  </a:lnTo>
                  <a:lnTo>
                    <a:pt x="252" y="22"/>
                  </a:lnTo>
                  <a:lnTo>
                    <a:pt x="265" y="5"/>
                  </a:lnTo>
                  <a:lnTo>
                    <a:pt x="265" y="11"/>
                  </a:lnTo>
                  <a:lnTo>
                    <a:pt x="268" y="20"/>
                  </a:lnTo>
                  <a:lnTo>
                    <a:pt x="270" y="15"/>
                  </a:lnTo>
                  <a:lnTo>
                    <a:pt x="272" y="11"/>
                  </a:lnTo>
                  <a:lnTo>
                    <a:pt x="276" y="9"/>
                  </a:lnTo>
                  <a:lnTo>
                    <a:pt x="270" y="5"/>
                  </a:lnTo>
                  <a:lnTo>
                    <a:pt x="272" y="0"/>
                  </a:lnTo>
                  <a:lnTo>
                    <a:pt x="283" y="0"/>
                  </a:lnTo>
                  <a:lnTo>
                    <a:pt x="289" y="2"/>
                  </a:lnTo>
                  <a:lnTo>
                    <a:pt x="289" y="5"/>
                  </a:lnTo>
                  <a:lnTo>
                    <a:pt x="283" y="9"/>
                  </a:lnTo>
                  <a:lnTo>
                    <a:pt x="289" y="11"/>
                  </a:lnTo>
                  <a:lnTo>
                    <a:pt x="283" y="15"/>
                  </a:lnTo>
                  <a:lnTo>
                    <a:pt x="289" y="15"/>
                  </a:lnTo>
                  <a:lnTo>
                    <a:pt x="296" y="5"/>
                  </a:lnTo>
                  <a:lnTo>
                    <a:pt x="298" y="5"/>
                  </a:lnTo>
                  <a:lnTo>
                    <a:pt x="302" y="9"/>
                  </a:lnTo>
                  <a:lnTo>
                    <a:pt x="304" y="5"/>
                  </a:lnTo>
                  <a:lnTo>
                    <a:pt x="315" y="11"/>
                  </a:lnTo>
                  <a:lnTo>
                    <a:pt x="311" y="11"/>
                  </a:lnTo>
                  <a:lnTo>
                    <a:pt x="317" y="11"/>
                  </a:lnTo>
                  <a:lnTo>
                    <a:pt x="321" y="20"/>
                  </a:lnTo>
                  <a:lnTo>
                    <a:pt x="315" y="24"/>
                  </a:lnTo>
                  <a:lnTo>
                    <a:pt x="296" y="24"/>
                  </a:lnTo>
                  <a:lnTo>
                    <a:pt x="304" y="26"/>
                  </a:lnTo>
                  <a:lnTo>
                    <a:pt x="311" y="35"/>
                  </a:lnTo>
                  <a:lnTo>
                    <a:pt x="315" y="30"/>
                  </a:lnTo>
                  <a:lnTo>
                    <a:pt x="319" y="30"/>
                  </a:lnTo>
                  <a:lnTo>
                    <a:pt x="326" y="35"/>
                  </a:lnTo>
                  <a:lnTo>
                    <a:pt x="330" y="37"/>
                  </a:lnTo>
                  <a:lnTo>
                    <a:pt x="321" y="3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39" name="Freeform 32"/>
            <p:cNvSpPr>
              <a:spLocks noChangeAspect="1"/>
            </p:cNvSpPr>
            <p:nvPr/>
          </p:nvSpPr>
          <p:spPr bwMode="auto">
            <a:xfrm>
              <a:off x="2827" y="1301"/>
              <a:ext cx="21" cy="13"/>
            </a:xfrm>
            <a:custGeom>
              <a:avLst/>
              <a:gdLst>
                <a:gd name="T0" fmla="*/ 3 w 18"/>
                <a:gd name="T1" fmla="*/ 13 h 13"/>
                <a:gd name="T2" fmla="*/ 0 w 18"/>
                <a:gd name="T3" fmla="*/ 9 h 13"/>
                <a:gd name="T4" fmla="*/ 194 w 18"/>
                <a:gd name="T5" fmla="*/ 0 h 13"/>
                <a:gd name="T6" fmla="*/ 264 w 18"/>
                <a:gd name="T7" fmla="*/ 4 h 13"/>
                <a:gd name="T8" fmla="*/ 419 w 18"/>
                <a:gd name="T9" fmla="*/ 0 h 13"/>
                <a:gd name="T10" fmla="*/ 484 w 18"/>
                <a:gd name="T11" fmla="*/ 4 h 13"/>
                <a:gd name="T12" fmla="*/ 194 w 18"/>
                <a:gd name="T13" fmla="*/ 11 h 13"/>
                <a:gd name="T14" fmla="*/ 194 w 18"/>
                <a:gd name="T15" fmla="*/ 13 h 13"/>
                <a:gd name="T16" fmla="*/ 3 w 18"/>
                <a:gd name="T17" fmla="*/ 13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3"/>
                <a:gd name="T29" fmla="*/ 18 w 18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3">
                  <a:moveTo>
                    <a:pt x="3" y="13"/>
                  </a:moveTo>
                  <a:lnTo>
                    <a:pt x="0" y="9"/>
                  </a:lnTo>
                  <a:lnTo>
                    <a:pt x="7" y="0"/>
                  </a:lnTo>
                  <a:lnTo>
                    <a:pt x="11" y="4"/>
                  </a:lnTo>
                  <a:lnTo>
                    <a:pt x="16" y="0"/>
                  </a:lnTo>
                  <a:lnTo>
                    <a:pt x="18" y="4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3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0" name="Freeform 33"/>
            <p:cNvSpPr>
              <a:spLocks noChangeAspect="1"/>
            </p:cNvSpPr>
            <p:nvPr/>
          </p:nvSpPr>
          <p:spPr bwMode="auto">
            <a:xfrm>
              <a:off x="2819" y="1299"/>
              <a:ext cx="8" cy="11"/>
            </a:xfrm>
            <a:custGeom>
              <a:avLst/>
              <a:gdLst>
                <a:gd name="T0" fmla="*/ 4 w 8"/>
                <a:gd name="T1" fmla="*/ 11 h 11"/>
                <a:gd name="T2" fmla="*/ 2 w 8"/>
                <a:gd name="T3" fmla="*/ 11 h 11"/>
                <a:gd name="T4" fmla="*/ 8 w 8"/>
                <a:gd name="T5" fmla="*/ 6 h 11"/>
                <a:gd name="T6" fmla="*/ 4 w 8"/>
                <a:gd name="T7" fmla="*/ 6 h 11"/>
                <a:gd name="T8" fmla="*/ 0 w 8"/>
                <a:gd name="T9" fmla="*/ 11 h 11"/>
                <a:gd name="T10" fmla="*/ 0 w 8"/>
                <a:gd name="T11" fmla="*/ 4 h 11"/>
                <a:gd name="T12" fmla="*/ 4 w 8"/>
                <a:gd name="T13" fmla="*/ 4 h 11"/>
                <a:gd name="T14" fmla="*/ 4 w 8"/>
                <a:gd name="T15" fmla="*/ 0 h 11"/>
                <a:gd name="T16" fmla="*/ 8 w 8"/>
                <a:gd name="T17" fmla="*/ 2 h 11"/>
                <a:gd name="T18" fmla="*/ 8 w 8"/>
                <a:gd name="T19" fmla="*/ 6 h 11"/>
                <a:gd name="T20" fmla="*/ 4 w 8"/>
                <a:gd name="T21" fmla="*/ 11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11"/>
                <a:gd name="T35" fmla="*/ 8 w 8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11">
                  <a:moveTo>
                    <a:pt x="4" y="11"/>
                  </a:moveTo>
                  <a:lnTo>
                    <a:pt x="2" y="11"/>
                  </a:lnTo>
                  <a:lnTo>
                    <a:pt x="8" y="6"/>
                  </a:lnTo>
                  <a:lnTo>
                    <a:pt x="4" y="6"/>
                  </a:lnTo>
                  <a:lnTo>
                    <a:pt x="0" y="11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1" name="Freeform 34"/>
            <p:cNvSpPr>
              <a:spLocks noChangeAspect="1"/>
            </p:cNvSpPr>
            <p:nvPr/>
          </p:nvSpPr>
          <p:spPr bwMode="auto">
            <a:xfrm>
              <a:off x="2771" y="1797"/>
              <a:ext cx="123" cy="53"/>
            </a:xfrm>
            <a:custGeom>
              <a:avLst/>
              <a:gdLst>
                <a:gd name="T0" fmla="*/ 457 w 112"/>
                <a:gd name="T1" fmla="*/ 6 h 52"/>
                <a:gd name="T2" fmla="*/ 537 w 112"/>
                <a:gd name="T3" fmla="*/ 8 h 52"/>
                <a:gd name="T4" fmla="*/ 551 w 112"/>
                <a:gd name="T5" fmla="*/ 8 h 52"/>
                <a:gd name="T6" fmla="*/ 622 w 112"/>
                <a:gd name="T7" fmla="*/ 0 h 52"/>
                <a:gd name="T8" fmla="*/ 683 w 112"/>
                <a:gd name="T9" fmla="*/ 4 h 52"/>
                <a:gd name="T10" fmla="*/ 790 w 112"/>
                <a:gd name="T11" fmla="*/ 6 h 52"/>
                <a:gd name="T12" fmla="*/ 790 w 112"/>
                <a:gd name="T13" fmla="*/ 15 h 52"/>
                <a:gd name="T14" fmla="*/ 859 w 112"/>
                <a:gd name="T15" fmla="*/ 19 h 52"/>
                <a:gd name="T16" fmla="*/ 859 w 112"/>
                <a:gd name="T17" fmla="*/ 23 h 52"/>
                <a:gd name="T18" fmla="*/ 824 w 112"/>
                <a:gd name="T19" fmla="*/ 48 h 52"/>
                <a:gd name="T20" fmla="*/ 771 w 112"/>
                <a:gd name="T21" fmla="*/ 48 h 52"/>
                <a:gd name="T22" fmla="*/ 752 w 112"/>
                <a:gd name="T23" fmla="*/ 48 h 52"/>
                <a:gd name="T24" fmla="*/ 771 w 112"/>
                <a:gd name="T25" fmla="*/ 48 h 52"/>
                <a:gd name="T26" fmla="*/ 771 w 112"/>
                <a:gd name="T27" fmla="*/ 63 h 52"/>
                <a:gd name="T28" fmla="*/ 731 w 112"/>
                <a:gd name="T29" fmla="*/ 65 h 52"/>
                <a:gd name="T30" fmla="*/ 731 w 112"/>
                <a:gd name="T31" fmla="*/ 67 h 52"/>
                <a:gd name="T32" fmla="*/ 683 w 112"/>
                <a:gd name="T33" fmla="*/ 67 h 52"/>
                <a:gd name="T34" fmla="*/ 551 w 112"/>
                <a:gd name="T35" fmla="*/ 72 h 52"/>
                <a:gd name="T36" fmla="*/ 457 w 112"/>
                <a:gd name="T37" fmla="*/ 72 h 52"/>
                <a:gd name="T38" fmla="*/ 447 w 112"/>
                <a:gd name="T39" fmla="*/ 72 h 52"/>
                <a:gd name="T40" fmla="*/ 354 w 112"/>
                <a:gd name="T41" fmla="*/ 65 h 52"/>
                <a:gd name="T42" fmla="*/ 286 w 112"/>
                <a:gd name="T43" fmla="*/ 59 h 52"/>
                <a:gd name="T44" fmla="*/ 260 w 112"/>
                <a:gd name="T45" fmla="*/ 59 h 52"/>
                <a:gd name="T46" fmla="*/ 179 w 112"/>
                <a:gd name="T47" fmla="*/ 59 h 52"/>
                <a:gd name="T48" fmla="*/ 179 w 112"/>
                <a:gd name="T49" fmla="*/ 65 h 52"/>
                <a:gd name="T50" fmla="*/ 112 w 112"/>
                <a:gd name="T51" fmla="*/ 65 h 52"/>
                <a:gd name="T52" fmla="*/ 99 w 112"/>
                <a:gd name="T53" fmla="*/ 65 h 52"/>
                <a:gd name="T54" fmla="*/ 99 w 112"/>
                <a:gd name="T55" fmla="*/ 63 h 52"/>
                <a:gd name="T56" fmla="*/ 4 w 112"/>
                <a:gd name="T57" fmla="*/ 63 h 52"/>
                <a:gd name="T58" fmla="*/ 4 w 112"/>
                <a:gd name="T59" fmla="*/ 59 h 52"/>
                <a:gd name="T60" fmla="*/ 4 w 112"/>
                <a:gd name="T61" fmla="*/ 59 h 52"/>
                <a:gd name="T62" fmla="*/ 0 w 112"/>
                <a:gd name="T63" fmla="*/ 54 h 52"/>
                <a:gd name="T64" fmla="*/ 0 w 112"/>
                <a:gd name="T65" fmla="*/ 52 h 52"/>
                <a:gd name="T66" fmla="*/ 4 w 112"/>
                <a:gd name="T67" fmla="*/ 48 h 52"/>
                <a:gd name="T68" fmla="*/ 99 w 112"/>
                <a:gd name="T69" fmla="*/ 52 h 52"/>
                <a:gd name="T70" fmla="*/ 99 w 112"/>
                <a:gd name="T71" fmla="*/ 48 h 52"/>
                <a:gd name="T72" fmla="*/ 148 w 112"/>
                <a:gd name="T73" fmla="*/ 48 h 52"/>
                <a:gd name="T74" fmla="*/ 163 w 112"/>
                <a:gd name="T75" fmla="*/ 52 h 52"/>
                <a:gd name="T76" fmla="*/ 232 w 112"/>
                <a:gd name="T77" fmla="*/ 48 h 52"/>
                <a:gd name="T78" fmla="*/ 260 w 112"/>
                <a:gd name="T79" fmla="*/ 48 h 52"/>
                <a:gd name="T80" fmla="*/ 286 w 112"/>
                <a:gd name="T81" fmla="*/ 48 h 52"/>
                <a:gd name="T82" fmla="*/ 354 w 112"/>
                <a:gd name="T83" fmla="*/ 48 h 52"/>
                <a:gd name="T84" fmla="*/ 380 w 112"/>
                <a:gd name="T85" fmla="*/ 48 h 52"/>
                <a:gd name="T86" fmla="*/ 354 w 112"/>
                <a:gd name="T87" fmla="*/ 23 h 52"/>
                <a:gd name="T88" fmla="*/ 354 w 112"/>
                <a:gd name="T89" fmla="*/ 15 h 52"/>
                <a:gd name="T90" fmla="*/ 457 w 112"/>
                <a:gd name="T91" fmla="*/ 13 h 52"/>
                <a:gd name="T92" fmla="*/ 457 w 112"/>
                <a:gd name="T93" fmla="*/ 6 h 5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12"/>
                <a:gd name="T142" fmla="*/ 0 h 52"/>
                <a:gd name="T143" fmla="*/ 112 w 112"/>
                <a:gd name="T144" fmla="*/ 52 h 5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12" h="52">
                  <a:moveTo>
                    <a:pt x="60" y="6"/>
                  </a:moveTo>
                  <a:lnTo>
                    <a:pt x="69" y="8"/>
                  </a:lnTo>
                  <a:lnTo>
                    <a:pt x="73" y="8"/>
                  </a:lnTo>
                  <a:lnTo>
                    <a:pt x="82" y="0"/>
                  </a:lnTo>
                  <a:lnTo>
                    <a:pt x="90" y="4"/>
                  </a:lnTo>
                  <a:lnTo>
                    <a:pt x="105" y="6"/>
                  </a:lnTo>
                  <a:lnTo>
                    <a:pt x="105" y="15"/>
                  </a:lnTo>
                  <a:lnTo>
                    <a:pt x="112" y="19"/>
                  </a:lnTo>
                  <a:lnTo>
                    <a:pt x="112" y="23"/>
                  </a:lnTo>
                  <a:lnTo>
                    <a:pt x="108" y="28"/>
                  </a:lnTo>
                  <a:lnTo>
                    <a:pt x="101" y="28"/>
                  </a:lnTo>
                  <a:lnTo>
                    <a:pt x="99" y="28"/>
                  </a:lnTo>
                  <a:lnTo>
                    <a:pt x="101" y="28"/>
                  </a:lnTo>
                  <a:lnTo>
                    <a:pt x="101" y="43"/>
                  </a:lnTo>
                  <a:lnTo>
                    <a:pt x="97" y="45"/>
                  </a:lnTo>
                  <a:lnTo>
                    <a:pt x="97" y="47"/>
                  </a:lnTo>
                  <a:lnTo>
                    <a:pt x="90" y="47"/>
                  </a:lnTo>
                  <a:lnTo>
                    <a:pt x="73" y="52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47" y="45"/>
                  </a:lnTo>
                  <a:lnTo>
                    <a:pt x="38" y="39"/>
                  </a:lnTo>
                  <a:lnTo>
                    <a:pt x="34" y="39"/>
                  </a:lnTo>
                  <a:lnTo>
                    <a:pt x="23" y="39"/>
                  </a:lnTo>
                  <a:lnTo>
                    <a:pt x="23" y="45"/>
                  </a:lnTo>
                  <a:lnTo>
                    <a:pt x="15" y="45"/>
                  </a:lnTo>
                  <a:lnTo>
                    <a:pt x="13" y="45"/>
                  </a:lnTo>
                  <a:lnTo>
                    <a:pt x="13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13" y="32"/>
                  </a:lnTo>
                  <a:lnTo>
                    <a:pt x="13" y="28"/>
                  </a:lnTo>
                  <a:lnTo>
                    <a:pt x="19" y="28"/>
                  </a:lnTo>
                  <a:lnTo>
                    <a:pt x="21" y="32"/>
                  </a:lnTo>
                  <a:lnTo>
                    <a:pt x="30" y="28"/>
                  </a:lnTo>
                  <a:lnTo>
                    <a:pt x="34" y="28"/>
                  </a:lnTo>
                  <a:lnTo>
                    <a:pt x="38" y="28"/>
                  </a:lnTo>
                  <a:lnTo>
                    <a:pt x="47" y="28"/>
                  </a:lnTo>
                  <a:lnTo>
                    <a:pt x="51" y="28"/>
                  </a:lnTo>
                  <a:lnTo>
                    <a:pt x="47" y="23"/>
                  </a:lnTo>
                  <a:lnTo>
                    <a:pt x="47" y="15"/>
                  </a:lnTo>
                  <a:lnTo>
                    <a:pt x="60" y="13"/>
                  </a:lnTo>
                  <a:lnTo>
                    <a:pt x="60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2" name="Freeform 35"/>
            <p:cNvSpPr>
              <a:spLocks noChangeAspect="1"/>
            </p:cNvSpPr>
            <p:nvPr/>
          </p:nvSpPr>
          <p:spPr bwMode="auto">
            <a:xfrm>
              <a:off x="2837" y="1665"/>
              <a:ext cx="169" cy="127"/>
            </a:xfrm>
            <a:custGeom>
              <a:avLst/>
              <a:gdLst>
                <a:gd name="T0" fmla="*/ 626 w 153"/>
                <a:gd name="T1" fmla="*/ 7 h 125"/>
                <a:gd name="T2" fmla="*/ 991 w 153"/>
                <a:gd name="T3" fmla="*/ 7 h 125"/>
                <a:gd name="T4" fmla="*/ 1080 w 153"/>
                <a:gd name="T5" fmla="*/ 22 h 125"/>
                <a:gd name="T6" fmla="*/ 1106 w 153"/>
                <a:gd name="T7" fmla="*/ 54 h 125"/>
                <a:gd name="T8" fmla="*/ 1144 w 153"/>
                <a:gd name="T9" fmla="*/ 65 h 125"/>
                <a:gd name="T10" fmla="*/ 1036 w 153"/>
                <a:gd name="T11" fmla="*/ 73 h 125"/>
                <a:gd name="T12" fmla="*/ 1106 w 153"/>
                <a:gd name="T13" fmla="*/ 82 h 125"/>
                <a:gd name="T14" fmla="*/ 1144 w 153"/>
                <a:gd name="T15" fmla="*/ 93 h 125"/>
                <a:gd name="T16" fmla="*/ 1193 w 153"/>
                <a:gd name="T17" fmla="*/ 112 h 125"/>
                <a:gd name="T18" fmla="*/ 1028 w 153"/>
                <a:gd name="T19" fmla="*/ 153 h 125"/>
                <a:gd name="T20" fmla="*/ 1036 w 153"/>
                <a:gd name="T21" fmla="*/ 163 h 125"/>
                <a:gd name="T22" fmla="*/ 1028 w 153"/>
                <a:gd name="T23" fmla="*/ 166 h 125"/>
                <a:gd name="T24" fmla="*/ 991 w 153"/>
                <a:gd name="T25" fmla="*/ 163 h 125"/>
                <a:gd name="T26" fmla="*/ 931 w 153"/>
                <a:gd name="T27" fmla="*/ 157 h 125"/>
                <a:gd name="T28" fmla="*/ 849 w 153"/>
                <a:gd name="T29" fmla="*/ 155 h 125"/>
                <a:gd name="T30" fmla="*/ 843 w 153"/>
                <a:gd name="T31" fmla="*/ 157 h 125"/>
                <a:gd name="T32" fmla="*/ 789 w 153"/>
                <a:gd name="T33" fmla="*/ 157 h 125"/>
                <a:gd name="T34" fmla="*/ 732 w 153"/>
                <a:gd name="T35" fmla="*/ 163 h 125"/>
                <a:gd name="T36" fmla="*/ 695 w 153"/>
                <a:gd name="T37" fmla="*/ 157 h 125"/>
                <a:gd name="T38" fmla="*/ 672 w 153"/>
                <a:gd name="T39" fmla="*/ 153 h 125"/>
                <a:gd name="T40" fmla="*/ 626 w 153"/>
                <a:gd name="T41" fmla="*/ 155 h 125"/>
                <a:gd name="T42" fmla="*/ 563 w 153"/>
                <a:gd name="T43" fmla="*/ 148 h 125"/>
                <a:gd name="T44" fmla="*/ 563 w 153"/>
                <a:gd name="T45" fmla="*/ 146 h 125"/>
                <a:gd name="T46" fmla="*/ 454 w 153"/>
                <a:gd name="T47" fmla="*/ 142 h 125"/>
                <a:gd name="T48" fmla="*/ 454 w 153"/>
                <a:gd name="T49" fmla="*/ 140 h 125"/>
                <a:gd name="T50" fmla="*/ 408 w 153"/>
                <a:gd name="T51" fmla="*/ 138 h 125"/>
                <a:gd name="T52" fmla="*/ 372 w 153"/>
                <a:gd name="T53" fmla="*/ 140 h 125"/>
                <a:gd name="T54" fmla="*/ 337 w 153"/>
                <a:gd name="T55" fmla="*/ 140 h 125"/>
                <a:gd name="T56" fmla="*/ 305 w 153"/>
                <a:gd name="T57" fmla="*/ 138 h 125"/>
                <a:gd name="T58" fmla="*/ 305 w 153"/>
                <a:gd name="T59" fmla="*/ 133 h 125"/>
                <a:gd name="T60" fmla="*/ 305 w 153"/>
                <a:gd name="T61" fmla="*/ 130 h 125"/>
                <a:gd name="T62" fmla="*/ 273 w 153"/>
                <a:gd name="T63" fmla="*/ 130 h 125"/>
                <a:gd name="T64" fmla="*/ 186 w 153"/>
                <a:gd name="T65" fmla="*/ 122 h 125"/>
                <a:gd name="T66" fmla="*/ 186 w 153"/>
                <a:gd name="T67" fmla="*/ 112 h 125"/>
                <a:gd name="T68" fmla="*/ 152 w 153"/>
                <a:gd name="T69" fmla="*/ 112 h 125"/>
                <a:gd name="T70" fmla="*/ 113 w 153"/>
                <a:gd name="T71" fmla="*/ 112 h 125"/>
                <a:gd name="T72" fmla="*/ 152 w 153"/>
                <a:gd name="T73" fmla="*/ 104 h 125"/>
                <a:gd name="T74" fmla="*/ 113 w 153"/>
                <a:gd name="T75" fmla="*/ 100 h 125"/>
                <a:gd name="T76" fmla="*/ 102 w 153"/>
                <a:gd name="T77" fmla="*/ 88 h 125"/>
                <a:gd name="T78" fmla="*/ 102 w 153"/>
                <a:gd name="T79" fmla="*/ 84 h 125"/>
                <a:gd name="T80" fmla="*/ 68 w 153"/>
                <a:gd name="T81" fmla="*/ 84 h 125"/>
                <a:gd name="T82" fmla="*/ 68 w 153"/>
                <a:gd name="T83" fmla="*/ 73 h 125"/>
                <a:gd name="T84" fmla="*/ 68 w 153"/>
                <a:gd name="T85" fmla="*/ 73 h 125"/>
                <a:gd name="T86" fmla="*/ 0 w 153"/>
                <a:gd name="T87" fmla="*/ 65 h 125"/>
                <a:gd name="T88" fmla="*/ 0 w 153"/>
                <a:gd name="T89" fmla="*/ 62 h 125"/>
                <a:gd name="T90" fmla="*/ 68 w 153"/>
                <a:gd name="T91" fmla="*/ 58 h 125"/>
                <a:gd name="T92" fmla="*/ 4 w 153"/>
                <a:gd name="T93" fmla="*/ 28 h 125"/>
                <a:gd name="T94" fmla="*/ 68 w 153"/>
                <a:gd name="T95" fmla="*/ 24 h 125"/>
                <a:gd name="T96" fmla="*/ 68 w 153"/>
                <a:gd name="T97" fmla="*/ 24 h 125"/>
                <a:gd name="T98" fmla="*/ 68 w 153"/>
                <a:gd name="T99" fmla="*/ 20 h 125"/>
                <a:gd name="T100" fmla="*/ 216 w 153"/>
                <a:gd name="T101" fmla="*/ 13 h 125"/>
                <a:gd name="T102" fmla="*/ 250 w 153"/>
                <a:gd name="T103" fmla="*/ 7 h 125"/>
                <a:gd name="T104" fmla="*/ 305 w 153"/>
                <a:gd name="T105" fmla="*/ 5 h 125"/>
                <a:gd name="T106" fmla="*/ 305 w 153"/>
                <a:gd name="T107" fmla="*/ 5 h 125"/>
                <a:gd name="T108" fmla="*/ 454 w 153"/>
                <a:gd name="T109" fmla="*/ 0 h 125"/>
                <a:gd name="T110" fmla="*/ 498 w 153"/>
                <a:gd name="T111" fmla="*/ 7 h 125"/>
                <a:gd name="T112" fmla="*/ 513 w 153"/>
                <a:gd name="T113" fmla="*/ 11 h 125"/>
                <a:gd name="T114" fmla="*/ 563 w 153"/>
                <a:gd name="T115" fmla="*/ 11 h 125"/>
                <a:gd name="T116" fmla="*/ 611 w 153"/>
                <a:gd name="T117" fmla="*/ 13 h 125"/>
                <a:gd name="T118" fmla="*/ 626 w 153"/>
                <a:gd name="T119" fmla="*/ 7 h 12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53"/>
                <a:gd name="T181" fmla="*/ 0 h 125"/>
                <a:gd name="T182" fmla="*/ 153 w 153"/>
                <a:gd name="T183" fmla="*/ 125 h 12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53" h="125">
                  <a:moveTo>
                    <a:pt x="80" y="7"/>
                  </a:moveTo>
                  <a:lnTo>
                    <a:pt x="127" y="7"/>
                  </a:lnTo>
                  <a:lnTo>
                    <a:pt x="138" y="22"/>
                  </a:lnTo>
                  <a:lnTo>
                    <a:pt x="142" y="35"/>
                  </a:lnTo>
                  <a:lnTo>
                    <a:pt x="147" y="46"/>
                  </a:lnTo>
                  <a:lnTo>
                    <a:pt x="134" y="54"/>
                  </a:lnTo>
                  <a:lnTo>
                    <a:pt x="142" y="63"/>
                  </a:lnTo>
                  <a:lnTo>
                    <a:pt x="147" y="74"/>
                  </a:lnTo>
                  <a:lnTo>
                    <a:pt x="153" y="84"/>
                  </a:lnTo>
                  <a:lnTo>
                    <a:pt x="132" y="115"/>
                  </a:lnTo>
                  <a:lnTo>
                    <a:pt x="134" y="123"/>
                  </a:lnTo>
                  <a:lnTo>
                    <a:pt x="132" y="125"/>
                  </a:lnTo>
                  <a:lnTo>
                    <a:pt x="127" y="123"/>
                  </a:lnTo>
                  <a:lnTo>
                    <a:pt x="119" y="119"/>
                  </a:lnTo>
                  <a:lnTo>
                    <a:pt x="110" y="117"/>
                  </a:lnTo>
                  <a:lnTo>
                    <a:pt x="108" y="119"/>
                  </a:lnTo>
                  <a:lnTo>
                    <a:pt x="101" y="119"/>
                  </a:lnTo>
                  <a:lnTo>
                    <a:pt x="93" y="123"/>
                  </a:lnTo>
                  <a:lnTo>
                    <a:pt x="89" y="119"/>
                  </a:lnTo>
                  <a:lnTo>
                    <a:pt x="86" y="115"/>
                  </a:lnTo>
                  <a:lnTo>
                    <a:pt x="80" y="117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2" y="100"/>
                  </a:lnTo>
                  <a:lnTo>
                    <a:pt x="48" y="102"/>
                  </a:lnTo>
                  <a:lnTo>
                    <a:pt x="43" y="102"/>
                  </a:lnTo>
                  <a:lnTo>
                    <a:pt x="39" y="100"/>
                  </a:lnTo>
                  <a:lnTo>
                    <a:pt x="39" y="95"/>
                  </a:lnTo>
                  <a:lnTo>
                    <a:pt x="39" y="93"/>
                  </a:lnTo>
                  <a:lnTo>
                    <a:pt x="35" y="93"/>
                  </a:lnTo>
                  <a:lnTo>
                    <a:pt x="24" y="89"/>
                  </a:lnTo>
                  <a:lnTo>
                    <a:pt x="24" y="84"/>
                  </a:lnTo>
                  <a:lnTo>
                    <a:pt x="19" y="84"/>
                  </a:lnTo>
                  <a:lnTo>
                    <a:pt x="15" y="84"/>
                  </a:lnTo>
                  <a:lnTo>
                    <a:pt x="19" y="80"/>
                  </a:lnTo>
                  <a:lnTo>
                    <a:pt x="15" y="78"/>
                  </a:lnTo>
                  <a:lnTo>
                    <a:pt x="13" y="69"/>
                  </a:lnTo>
                  <a:lnTo>
                    <a:pt x="13" y="65"/>
                  </a:lnTo>
                  <a:lnTo>
                    <a:pt x="9" y="65"/>
                  </a:lnTo>
                  <a:lnTo>
                    <a:pt x="9" y="54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9" y="39"/>
                  </a:lnTo>
                  <a:lnTo>
                    <a:pt x="4" y="28"/>
                  </a:lnTo>
                  <a:lnTo>
                    <a:pt x="9" y="24"/>
                  </a:lnTo>
                  <a:lnTo>
                    <a:pt x="9" y="20"/>
                  </a:lnTo>
                  <a:lnTo>
                    <a:pt x="28" y="13"/>
                  </a:lnTo>
                  <a:lnTo>
                    <a:pt x="32" y="7"/>
                  </a:lnTo>
                  <a:lnTo>
                    <a:pt x="39" y="5"/>
                  </a:lnTo>
                  <a:lnTo>
                    <a:pt x="58" y="0"/>
                  </a:lnTo>
                  <a:lnTo>
                    <a:pt x="63" y="7"/>
                  </a:lnTo>
                  <a:lnTo>
                    <a:pt x="65" y="11"/>
                  </a:lnTo>
                  <a:lnTo>
                    <a:pt x="71" y="11"/>
                  </a:lnTo>
                  <a:lnTo>
                    <a:pt x="78" y="13"/>
                  </a:lnTo>
                  <a:lnTo>
                    <a:pt x="80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3" name="Freeform 36"/>
            <p:cNvSpPr>
              <a:spLocks noChangeAspect="1"/>
            </p:cNvSpPr>
            <p:nvPr/>
          </p:nvSpPr>
          <p:spPr bwMode="auto">
            <a:xfrm>
              <a:off x="2445" y="1937"/>
              <a:ext cx="58" cy="103"/>
            </a:xfrm>
            <a:custGeom>
              <a:avLst/>
              <a:gdLst>
                <a:gd name="T0" fmla="*/ 119 w 52"/>
                <a:gd name="T1" fmla="*/ 0 h 101"/>
                <a:gd name="T2" fmla="*/ 164 w 52"/>
                <a:gd name="T3" fmla="*/ 2 h 101"/>
                <a:gd name="T4" fmla="*/ 229 w 52"/>
                <a:gd name="T5" fmla="*/ 0 h 101"/>
                <a:gd name="T6" fmla="*/ 255 w 52"/>
                <a:gd name="T7" fmla="*/ 6 h 101"/>
                <a:gd name="T8" fmla="*/ 317 w 52"/>
                <a:gd name="T9" fmla="*/ 6 h 101"/>
                <a:gd name="T10" fmla="*/ 395 w 52"/>
                <a:gd name="T11" fmla="*/ 6 h 101"/>
                <a:gd name="T12" fmla="*/ 464 w 52"/>
                <a:gd name="T13" fmla="*/ 6 h 101"/>
                <a:gd name="T14" fmla="*/ 539 w 52"/>
                <a:gd name="T15" fmla="*/ 9 h 101"/>
                <a:gd name="T16" fmla="*/ 549 w 52"/>
                <a:gd name="T17" fmla="*/ 11 h 101"/>
                <a:gd name="T18" fmla="*/ 464 w 52"/>
                <a:gd name="T19" fmla="*/ 24 h 101"/>
                <a:gd name="T20" fmla="*/ 464 w 52"/>
                <a:gd name="T21" fmla="*/ 54 h 101"/>
                <a:gd name="T22" fmla="*/ 438 w 52"/>
                <a:gd name="T23" fmla="*/ 70 h 101"/>
                <a:gd name="T24" fmla="*/ 365 w 52"/>
                <a:gd name="T25" fmla="*/ 70 h 101"/>
                <a:gd name="T26" fmla="*/ 395 w 52"/>
                <a:gd name="T27" fmla="*/ 84 h 101"/>
                <a:gd name="T28" fmla="*/ 395 w 52"/>
                <a:gd name="T29" fmla="*/ 94 h 101"/>
                <a:gd name="T30" fmla="*/ 395 w 52"/>
                <a:gd name="T31" fmla="*/ 106 h 101"/>
                <a:gd name="T32" fmla="*/ 438 w 52"/>
                <a:gd name="T33" fmla="*/ 114 h 101"/>
                <a:gd name="T34" fmla="*/ 438 w 52"/>
                <a:gd name="T35" fmla="*/ 120 h 101"/>
                <a:gd name="T36" fmla="*/ 365 w 52"/>
                <a:gd name="T37" fmla="*/ 126 h 101"/>
                <a:gd name="T38" fmla="*/ 365 w 52"/>
                <a:gd name="T39" fmla="*/ 142 h 101"/>
                <a:gd name="T40" fmla="*/ 229 w 52"/>
                <a:gd name="T41" fmla="*/ 148 h 101"/>
                <a:gd name="T42" fmla="*/ 164 w 52"/>
                <a:gd name="T43" fmla="*/ 142 h 101"/>
                <a:gd name="T44" fmla="*/ 69 w 52"/>
                <a:gd name="T45" fmla="*/ 142 h 101"/>
                <a:gd name="T46" fmla="*/ 119 w 52"/>
                <a:gd name="T47" fmla="*/ 133 h 101"/>
                <a:gd name="T48" fmla="*/ 119 w 52"/>
                <a:gd name="T49" fmla="*/ 114 h 101"/>
                <a:gd name="T50" fmla="*/ 119 w 52"/>
                <a:gd name="T51" fmla="*/ 106 h 101"/>
                <a:gd name="T52" fmla="*/ 69 w 52"/>
                <a:gd name="T53" fmla="*/ 106 h 101"/>
                <a:gd name="T54" fmla="*/ 69 w 52"/>
                <a:gd name="T55" fmla="*/ 98 h 101"/>
                <a:gd name="T56" fmla="*/ 0 w 52"/>
                <a:gd name="T57" fmla="*/ 98 h 101"/>
                <a:gd name="T58" fmla="*/ 4 w 52"/>
                <a:gd name="T59" fmla="*/ 76 h 101"/>
                <a:gd name="T60" fmla="*/ 69 w 52"/>
                <a:gd name="T61" fmla="*/ 72 h 101"/>
                <a:gd name="T62" fmla="*/ 164 w 52"/>
                <a:gd name="T63" fmla="*/ 46 h 101"/>
                <a:gd name="T64" fmla="*/ 119 w 52"/>
                <a:gd name="T65" fmla="*/ 0 h 1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2"/>
                <a:gd name="T100" fmla="*/ 0 h 101"/>
                <a:gd name="T101" fmla="*/ 52 w 52"/>
                <a:gd name="T102" fmla="*/ 101 h 1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2" h="101">
                  <a:moveTo>
                    <a:pt x="11" y="0"/>
                  </a:moveTo>
                  <a:lnTo>
                    <a:pt x="15" y="2"/>
                  </a:lnTo>
                  <a:lnTo>
                    <a:pt x="22" y="0"/>
                  </a:lnTo>
                  <a:lnTo>
                    <a:pt x="24" y="6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43" y="6"/>
                  </a:lnTo>
                  <a:lnTo>
                    <a:pt x="50" y="9"/>
                  </a:lnTo>
                  <a:lnTo>
                    <a:pt x="52" y="11"/>
                  </a:lnTo>
                  <a:lnTo>
                    <a:pt x="43" y="24"/>
                  </a:lnTo>
                  <a:lnTo>
                    <a:pt x="43" y="34"/>
                  </a:lnTo>
                  <a:lnTo>
                    <a:pt x="41" y="50"/>
                  </a:lnTo>
                  <a:lnTo>
                    <a:pt x="34" y="50"/>
                  </a:lnTo>
                  <a:lnTo>
                    <a:pt x="37" y="60"/>
                  </a:lnTo>
                  <a:lnTo>
                    <a:pt x="37" y="65"/>
                  </a:lnTo>
                  <a:lnTo>
                    <a:pt x="37" y="71"/>
                  </a:lnTo>
                  <a:lnTo>
                    <a:pt x="41" y="75"/>
                  </a:lnTo>
                  <a:lnTo>
                    <a:pt x="41" y="80"/>
                  </a:lnTo>
                  <a:lnTo>
                    <a:pt x="34" y="86"/>
                  </a:lnTo>
                  <a:lnTo>
                    <a:pt x="34" y="97"/>
                  </a:lnTo>
                  <a:lnTo>
                    <a:pt x="22" y="101"/>
                  </a:lnTo>
                  <a:lnTo>
                    <a:pt x="15" y="97"/>
                  </a:lnTo>
                  <a:lnTo>
                    <a:pt x="6" y="97"/>
                  </a:lnTo>
                  <a:lnTo>
                    <a:pt x="11" y="91"/>
                  </a:lnTo>
                  <a:lnTo>
                    <a:pt x="11" y="75"/>
                  </a:lnTo>
                  <a:lnTo>
                    <a:pt x="11" y="71"/>
                  </a:lnTo>
                  <a:lnTo>
                    <a:pt x="6" y="71"/>
                  </a:lnTo>
                  <a:lnTo>
                    <a:pt x="6" y="67"/>
                  </a:lnTo>
                  <a:lnTo>
                    <a:pt x="0" y="67"/>
                  </a:lnTo>
                  <a:lnTo>
                    <a:pt x="4" y="56"/>
                  </a:lnTo>
                  <a:lnTo>
                    <a:pt x="6" y="52"/>
                  </a:lnTo>
                  <a:lnTo>
                    <a:pt x="15" y="26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4" name="Freeform 37"/>
            <p:cNvSpPr>
              <a:spLocks noChangeAspect="1"/>
            </p:cNvSpPr>
            <p:nvPr/>
          </p:nvSpPr>
          <p:spPr bwMode="auto">
            <a:xfrm>
              <a:off x="2952" y="1812"/>
              <a:ext cx="152" cy="97"/>
            </a:xfrm>
            <a:custGeom>
              <a:avLst/>
              <a:gdLst>
                <a:gd name="T0" fmla="*/ 601 w 138"/>
                <a:gd name="T1" fmla="*/ 4 h 95"/>
                <a:gd name="T2" fmla="*/ 697 w 138"/>
                <a:gd name="T3" fmla="*/ 0 h 95"/>
                <a:gd name="T4" fmla="*/ 827 w 138"/>
                <a:gd name="T5" fmla="*/ 45 h 95"/>
                <a:gd name="T6" fmla="*/ 827 w 138"/>
                <a:gd name="T7" fmla="*/ 45 h 95"/>
                <a:gd name="T8" fmla="*/ 847 w 138"/>
                <a:gd name="T9" fmla="*/ 78 h 95"/>
                <a:gd name="T10" fmla="*/ 911 w 138"/>
                <a:gd name="T11" fmla="*/ 86 h 95"/>
                <a:gd name="T12" fmla="*/ 1006 w 138"/>
                <a:gd name="T13" fmla="*/ 78 h 95"/>
                <a:gd name="T14" fmla="*/ 1006 w 138"/>
                <a:gd name="T15" fmla="*/ 100 h 95"/>
                <a:gd name="T16" fmla="*/ 932 w 138"/>
                <a:gd name="T17" fmla="*/ 104 h 95"/>
                <a:gd name="T18" fmla="*/ 932 w 138"/>
                <a:gd name="T19" fmla="*/ 96 h 95"/>
                <a:gd name="T20" fmla="*/ 932 w 138"/>
                <a:gd name="T21" fmla="*/ 96 h 95"/>
                <a:gd name="T22" fmla="*/ 932 w 138"/>
                <a:gd name="T23" fmla="*/ 104 h 95"/>
                <a:gd name="T24" fmla="*/ 932 w 138"/>
                <a:gd name="T25" fmla="*/ 111 h 95"/>
                <a:gd name="T26" fmla="*/ 932 w 138"/>
                <a:gd name="T27" fmla="*/ 116 h 95"/>
                <a:gd name="T28" fmla="*/ 911 w 138"/>
                <a:gd name="T29" fmla="*/ 129 h 95"/>
                <a:gd name="T30" fmla="*/ 859 w 138"/>
                <a:gd name="T31" fmla="*/ 129 h 95"/>
                <a:gd name="T32" fmla="*/ 847 w 138"/>
                <a:gd name="T33" fmla="*/ 123 h 95"/>
                <a:gd name="T34" fmla="*/ 752 w 138"/>
                <a:gd name="T35" fmla="*/ 123 h 95"/>
                <a:gd name="T36" fmla="*/ 741 w 138"/>
                <a:gd name="T37" fmla="*/ 123 h 95"/>
                <a:gd name="T38" fmla="*/ 621 w 138"/>
                <a:gd name="T39" fmla="*/ 129 h 95"/>
                <a:gd name="T40" fmla="*/ 575 w 138"/>
                <a:gd name="T41" fmla="*/ 137 h 95"/>
                <a:gd name="T42" fmla="*/ 563 w 138"/>
                <a:gd name="T43" fmla="*/ 140 h 95"/>
                <a:gd name="T44" fmla="*/ 492 w 138"/>
                <a:gd name="T45" fmla="*/ 137 h 95"/>
                <a:gd name="T46" fmla="*/ 422 w 138"/>
                <a:gd name="T47" fmla="*/ 137 h 95"/>
                <a:gd name="T48" fmla="*/ 391 w 138"/>
                <a:gd name="T49" fmla="*/ 137 h 95"/>
                <a:gd name="T50" fmla="*/ 347 w 138"/>
                <a:gd name="T51" fmla="*/ 129 h 95"/>
                <a:gd name="T52" fmla="*/ 275 w 138"/>
                <a:gd name="T53" fmla="*/ 137 h 95"/>
                <a:gd name="T54" fmla="*/ 275 w 138"/>
                <a:gd name="T55" fmla="*/ 129 h 95"/>
                <a:gd name="T56" fmla="*/ 275 w 138"/>
                <a:gd name="T57" fmla="*/ 123 h 95"/>
                <a:gd name="T58" fmla="*/ 250 w 138"/>
                <a:gd name="T59" fmla="*/ 123 h 95"/>
                <a:gd name="T60" fmla="*/ 219 w 138"/>
                <a:gd name="T61" fmla="*/ 116 h 95"/>
                <a:gd name="T62" fmla="*/ 250 w 138"/>
                <a:gd name="T63" fmla="*/ 111 h 95"/>
                <a:gd name="T64" fmla="*/ 219 w 138"/>
                <a:gd name="T65" fmla="*/ 111 h 95"/>
                <a:gd name="T66" fmla="*/ 199 w 138"/>
                <a:gd name="T67" fmla="*/ 116 h 95"/>
                <a:gd name="T68" fmla="*/ 160 w 138"/>
                <a:gd name="T69" fmla="*/ 111 h 95"/>
                <a:gd name="T70" fmla="*/ 109 w 138"/>
                <a:gd name="T71" fmla="*/ 104 h 95"/>
                <a:gd name="T72" fmla="*/ 109 w 138"/>
                <a:gd name="T73" fmla="*/ 100 h 95"/>
                <a:gd name="T74" fmla="*/ 109 w 138"/>
                <a:gd name="T75" fmla="*/ 86 h 95"/>
                <a:gd name="T76" fmla="*/ 4 w 138"/>
                <a:gd name="T77" fmla="*/ 78 h 95"/>
                <a:gd name="T78" fmla="*/ 4 w 138"/>
                <a:gd name="T79" fmla="*/ 68 h 95"/>
                <a:gd name="T80" fmla="*/ 0 w 138"/>
                <a:gd name="T81" fmla="*/ 62 h 95"/>
                <a:gd name="T82" fmla="*/ 41 w 138"/>
                <a:gd name="T83" fmla="*/ 62 h 95"/>
                <a:gd name="T84" fmla="*/ 41 w 138"/>
                <a:gd name="T85" fmla="*/ 58 h 95"/>
                <a:gd name="T86" fmla="*/ 99 w 138"/>
                <a:gd name="T87" fmla="*/ 58 h 95"/>
                <a:gd name="T88" fmla="*/ 99 w 138"/>
                <a:gd name="T89" fmla="*/ 53 h 95"/>
                <a:gd name="T90" fmla="*/ 109 w 138"/>
                <a:gd name="T91" fmla="*/ 47 h 95"/>
                <a:gd name="T92" fmla="*/ 145 w 138"/>
                <a:gd name="T93" fmla="*/ 15 h 95"/>
                <a:gd name="T94" fmla="*/ 170 w 138"/>
                <a:gd name="T95" fmla="*/ 8 h 95"/>
                <a:gd name="T96" fmla="*/ 219 w 138"/>
                <a:gd name="T97" fmla="*/ 6 h 95"/>
                <a:gd name="T98" fmla="*/ 250 w 138"/>
                <a:gd name="T99" fmla="*/ 4 h 95"/>
                <a:gd name="T100" fmla="*/ 275 w 138"/>
                <a:gd name="T101" fmla="*/ 4 h 95"/>
                <a:gd name="T102" fmla="*/ 492 w 138"/>
                <a:gd name="T103" fmla="*/ 8 h 95"/>
                <a:gd name="T104" fmla="*/ 601 w 138"/>
                <a:gd name="T105" fmla="*/ 4 h 9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8"/>
                <a:gd name="T160" fmla="*/ 0 h 95"/>
                <a:gd name="T161" fmla="*/ 138 w 138"/>
                <a:gd name="T162" fmla="*/ 95 h 9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8" h="95">
                  <a:moveTo>
                    <a:pt x="82" y="4"/>
                  </a:moveTo>
                  <a:lnTo>
                    <a:pt x="95" y="0"/>
                  </a:lnTo>
                  <a:lnTo>
                    <a:pt x="112" y="26"/>
                  </a:lnTo>
                  <a:lnTo>
                    <a:pt x="116" y="56"/>
                  </a:lnTo>
                  <a:lnTo>
                    <a:pt x="123" y="60"/>
                  </a:lnTo>
                  <a:lnTo>
                    <a:pt x="138" y="56"/>
                  </a:lnTo>
                  <a:lnTo>
                    <a:pt x="138" y="67"/>
                  </a:lnTo>
                  <a:lnTo>
                    <a:pt x="127" y="69"/>
                  </a:lnTo>
                  <a:lnTo>
                    <a:pt x="127" y="65"/>
                  </a:lnTo>
                  <a:lnTo>
                    <a:pt x="127" y="69"/>
                  </a:lnTo>
                  <a:lnTo>
                    <a:pt x="127" y="73"/>
                  </a:lnTo>
                  <a:lnTo>
                    <a:pt x="127" y="78"/>
                  </a:lnTo>
                  <a:lnTo>
                    <a:pt x="123" y="88"/>
                  </a:lnTo>
                  <a:lnTo>
                    <a:pt x="118" y="88"/>
                  </a:lnTo>
                  <a:lnTo>
                    <a:pt x="116" y="84"/>
                  </a:lnTo>
                  <a:lnTo>
                    <a:pt x="103" y="84"/>
                  </a:lnTo>
                  <a:lnTo>
                    <a:pt x="101" y="84"/>
                  </a:lnTo>
                  <a:lnTo>
                    <a:pt x="86" y="88"/>
                  </a:lnTo>
                  <a:lnTo>
                    <a:pt x="79" y="93"/>
                  </a:lnTo>
                  <a:lnTo>
                    <a:pt x="77" y="95"/>
                  </a:lnTo>
                  <a:lnTo>
                    <a:pt x="67" y="93"/>
                  </a:lnTo>
                  <a:lnTo>
                    <a:pt x="58" y="93"/>
                  </a:lnTo>
                  <a:lnTo>
                    <a:pt x="54" y="93"/>
                  </a:lnTo>
                  <a:lnTo>
                    <a:pt x="47" y="88"/>
                  </a:lnTo>
                  <a:lnTo>
                    <a:pt x="38" y="93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4" y="84"/>
                  </a:lnTo>
                  <a:lnTo>
                    <a:pt x="30" y="78"/>
                  </a:lnTo>
                  <a:lnTo>
                    <a:pt x="34" y="73"/>
                  </a:lnTo>
                  <a:lnTo>
                    <a:pt x="30" y="73"/>
                  </a:lnTo>
                  <a:lnTo>
                    <a:pt x="28" y="78"/>
                  </a:lnTo>
                  <a:lnTo>
                    <a:pt x="21" y="73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0"/>
                  </a:lnTo>
                  <a:lnTo>
                    <a:pt x="4" y="56"/>
                  </a:lnTo>
                  <a:lnTo>
                    <a:pt x="4" y="49"/>
                  </a:lnTo>
                  <a:lnTo>
                    <a:pt x="0" y="43"/>
                  </a:lnTo>
                  <a:lnTo>
                    <a:pt x="6" y="43"/>
                  </a:lnTo>
                  <a:lnTo>
                    <a:pt x="6" y="39"/>
                  </a:lnTo>
                  <a:lnTo>
                    <a:pt x="13" y="39"/>
                  </a:lnTo>
                  <a:lnTo>
                    <a:pt x="13" y="34"/>
                  </a:lnTo>
                  <a:lnTo>
                    <a:pt x="15" y="28"/>
                  </a:lnTo>
                  <a:lnTo>
                    <a:pt x="19" y="15"/>
                  </a:lnTo>
                  <a:lnTo>
                    <a:pt x="23" y="8"/>
                  </a:lnTo>
                  <a:lnTo>
                    <a:pt x="30" y="6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67" y="8"/>
                  </a:lnTo>
                  <a:lnTo>
                    <a:pt x="82" y="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5" name="Freeform 38"/>
            <p:cNvSpPr>
              <a:spLocks noChangeAspect="1"/>
            </p:cNvSpPr>
            <p:nvPr/>
          </p:nvSpPr>
          <p:spPr bwMode="auto">
            <a:xfrm>
              <a:off x="2786" y="1294"/>
              <a:ext cx="177" cy="360"/>
            </a:xfrm>
            <a:custGeom>
              <a:avLst/>
              <a:gdLst>
                <a:gd name="T0" fmla="*/ 1013 w 161"/>
                <a:gd name="T1" fmla="*/ 16 h 354"/>
                <a:gd name="T2" fmla="*/ 1165 w 161"/>
                <a:gd name="T3" fmla="*/ 57 h 354"/>
                <a:gd name="T4" fmla="*/ 1165 w 161"/>
                <a:gd name="T5" fmla="*/ 66 h 354"/>
                <a:gd name="T6" fmla="*/ 1229 w 161"/>
                <a:gd name="T7" fmla="*/ 99 h 354"/>
                <a:gd name="T8" fmla="*/ 1165 w 161"/>
                <a:gd name="T9" fmla="*/ 121 h 354"/>
                <a:gd name="T10" fmla="*/ 991 w 161"/>
                <a:gd name="T11" fmla="*/ 135 h 354"/>
                <a:gd name="T12" fmla="*/ 972 w 161"/>
                <a:gd name="T13" fmla="*/ 158 h 354"/>
                <a:gd name="T14" fmla="*/ 972 w 161"/>
                <a:gd name="T15" fmla="*/ 181 h 354"/>
                <a:gd name="T16" fmla="*/ 864 w 161"/>
                <a:gd name="T17" fmla="*/ 206 h 354"/>
                <a:gd name="T18" fmla="*/ 796 w 161"/>
                <a:gd name="T19" fmla="*/ 213 h 354"/>
                <a:gd name="T20" fmla="*/ 693 w 161"/>
                <a:gd name="T21" fmla="*/ 229 h 354"/>
                <a:gd name="T22" fmla="*/ 667 w 161"/>
                <a:gd name="T23" fmla="*/ 233 h 354"/>
                <a:gd name="T24" fmla="*/ 650 w 161"/>
                <a:gd name="T25" fmla="*/ 244 h 354"/>
                <a:gd name="T26" fmla="*/ 650 w 161"/>
                <a:gd name="T27" fmla="*/ 272 h 354"/>
                <a:gd name="T28" fmla="*/ 607 w 161"/>
                <a:gd name="T29" fmla="*/ 284 h 354"/>
                <a:gd name="T30" fmla="*/ 667 w 161"/>
                <a:gd name="T31" fmla="*/ 317 h 354"/>
                <a:gd name="T32" fmla="*/ 796 w 161"/>
                <a:gd name="T33" fmla="*/ 328 h 354"/>
                <a:gd name="T34" fmla="*/ 788 w 161"/>
                <a:gd name="T35" fmla="*/ 368 h 354"/>
                <a:gd name="T36" fmla="*/ 693 w 161"/>
                <a:gd name="T37" fmla="*/ 370 h 354"/>
                <a:gd name="T38" fmla="*/ 562 w 161"/>
                <a:gd name="T39" fmla="*/ 385 h 354"/>
                <a:gd name="T40" fmla="*/ 607 w 161"/>
                <a:gd name="T41" fmla="*/ 408 h 354"/>
                <a:gd name="T42" fmla="*/ 593 w 161"/>
                <a:gd name="T43" fmla="*/ 442 h 354"/>
                <a:gd name="T44" fmla="*/ 388 w 161"/>
                <a:gd name="T45" fmla="*/ 475 h 354"/>
                <a:gd name="T46" fmla="*/ 369 w 161"/>
                <a:gd name="T47" fmla="*/ 484 h 354"/>
                <a:gd name="T48" fmla="*/ 255 w 161"/>
                <a:gd name="T49" fmla="*/ 495 h 354"/>
                <a:gd name="T50" fmla="*/ 179 w 161"/>
                <a:gd name="T51" fmla="*/ 469 h 354"/>
                <a:gd name="T52" fmla="*/ 192 w 161"/>
                <a:gd name="T53" fmla="*/ 461 h 354"/>
                <a:gd name="T54" fmla="*/ 112 w 161"/>
                <a:gd name="T55" fmla="*/ 427 h 354"/>
                <a:gd name="T56" fmla="*/ 62 w 161"/>
                <a:gd name="T57" fmla="*/ 395 h 354"/>
                <a:gd name="T58" fmla="*/ 0 w 161"/>
                <a:gd name="T59" fmla="*/ 374 h 354"/>
                <a:gd name="T60" fmla="*/ 62 w 161"/>
                <a:gd name="T61" fmla="*/ 347 h 354"/>
                <a:gd name="T62" fmla="*/ 123 w 161"/>
                <a:gd name="T63" fmla="*/ 340 h 354"/>
                <a:gd name="T64" fmla="*/ 112 w 161"/>
                <a:gd name="T65" fmla="*/ 303 h 354"/>
                <a:gd name="T66" fmla="*/ 123 w 161"/>
                <a:gd name="T67" fmla="*/ 282 h 354"/>
                <a:gd name="T68" fmla="*/ 62 w 161"/>
                <a:gd name="T69" fmla="*/ 233 h 354"/>
                <a:gd name="T70" fmla="*/ 62 w 161"/>
                <a:gd name="T71" fmla="*/ 203 h 354"/>
                <a:gd name="T72" fmla="*/ 280 w 161"/>
                <a:gd name="T73" fmla="*/ 190 h 354"/>
                <a:gd name="T74" fmla="*/ 232 w 161"/>
                <a:gd name="T75" fmla="*/ 167 h 354"/>
                <a:gd name="T76" fmla="*/ 318 w 161"/>
                <a:gd name="T77" fmla="*/ 103 h 354"/>
                <a:gd name="T78" fmla="*/ 446 w 161"/>
                <a:gd name="T79" fmla="*/ 72 h 354"/>
                <a:gd name="T80" fmla="*/ 489 w 161"/>
                <a:gd name="T81" fmla="*/ 55 h 354"/>
                <a:gd name="T82" fmla="*/ 607 w 161"/>
                <a:gd name="T83" fmla="*/ 26 h 354"/>
                <a:gd name="T84" fmla="*/ 650 w 161"/>
                <a:gd name="T85" fmla="*/ 11 h 354"/>
                <a:gd name="T86" fmla="*/ 806 w 161"/>
                <a:gd name="T87" fmla="*/ 16 h 354"/>
                <a:gd name="T88" fmla="*/ 796 w 161"/>
                <a:gd name="T89" fmla="*/ 0 h 35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61"/>
                <a:gd name="T136" fmla="*/ 0 h 354"/>
                <a:gd name="T137" fmla="*/ 161 w 161"/>
                <a:gd name="T138" fmla="*/ 354 h 35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61" h="354">
                  <a:moveTo>
                    <a:pt x="110" y="0"/>
                  </a:moveTo>
                  <a:lnTo>
                    <a:pt x="118" y="9"/>
                  </a:lnTo>
                  <a:lnTo>
                    <a:pt x="131" y="16"/>
                  </a:lnTo>
                  <a:lnTo>
                    <a:pt x="140" y="16"/>
                  </a:lnTo>
                  <a:lnTo>
                    <a:pt x="151" y="26"/>
                  </a:lnTo>
                  <a:lnTo>
                    <a:pt x="151" y="37"/>
                  </a:lnTo>
                  <a:lnTo>
                    <a:pt x="155" y="41"/>
                  </a:lnTo>
                  <a:lnTo>
                    <a:pt x="151" y="44"/>
                  </a:lnTo>
                  <a:lnTo>
                    <a:pt x="151" y="46"/>
                  </a:lnTo>
                  <a:lnTo>
                    <a:pt x="159" y="52"/>
                  </a:lnTo>
                  <a:lnTo>
                    <a:pt x="155" y="67"/>
                  </a:lnTo>
                  <a:lnTo>
                    <a:pt x="159" y="74"/>
                  </a:lnTo>
                  <a:lnTo>
                    <a:pt x="161" y="80"/>
                  </a:lnTo>
                  <a:lnTo>
                    <a:pt x="151" y="80"/>
                  </a:lnTo>
                  <a:lnTo>
                    <a:pt x="151" y="85"/>
                  </a:lnTo>
                  <a:lnTo>
                    <a:pt x="136" y="80"/>
                  </a:lnTo>
                  <a:lnTo>
                    <a:pt x="136" y="91"/>
                  </a:lnTo>
                  <a:lnTo>
                    <a:pt x="127" y="95"/>
                  </a:lnTo>
                  <a:lnTo>
                    <a:pt x="131" y="100"/>
                  </a:lnTo>
                  <a:lnTo>
                    <a:pt x="127" y="106"/>
                  </a:lnTo>
                  <a:lnTo>
                    <a:pt x="125" y="115"/>
                  </a:lnTo>
                  <a:lnTo>
                    <a:pt x="127" y="117"/>
                  </a:lnTo>
                  <a:lnTo>
                    <a:pt x="131" y="121"/>
                  </a:lnTo>
                  <a:lnTo>
                    <a:pt x="125" y="130"/>
                  </a:lnTo>
                  <a:lnTo>
                    <a:pt x="120" y="139"/>
                  </a:lnTo>
                  <a:lnTo>
                    <a:pt x="118" y="141"/>
                  </a:lnTo>
                  <a:lnTo>
                    <a:pt x="110" y="147"/>
                  </a:lnTo>
                  <a:lnTo>
                    <a:pt x="105" y="145"/>
                  </a:lnTo>
                  <a:lnTo>
                    <a:pt x="105" y="147"/>
                  </a:lnTo>
                  <a:lnTo>
                    <a:pt x="103" y="152"/>
                  </a:lnTo>
                  <a:lnTo>
                    <a:pt x="101" y="156"/>
                  </a:lnTo>
                  <a:lnTo>
                    <a:pt x="95" y="156"/>
                  </a:lnTo>
                  <a:lnTo>
                    <a:pt x="90" y="164"/>
                  </a:lnTo>
                  <a:lnTo>
                    <a:pt x="95" y="167"/>
                  </a:lnTo>
                  <a:lnTo>
                    <a:pt x="90" y="167"/>
                  </a:lnTo>
                  <a:lnTo>
                    <a:pt x="86" y="167"/>
                  </a:lnTo>
                  <a:lnTo>
                    <a:pt x="86" y="175"/>
                  </a:lnTo>
                  <a:lnTo>
                    <a:pt x="82" y="175"/>
                  </a:lnTo>
                  <a:lnTo>
                    <a:pt x="82" y="180"/>
                  </a:lnTo>
                  <a:lnTo>
                    <a:pt x="82" y="184"/>
                  </a:lnTo>
                  <a:lnTo>
                    <a:pt x="82" y="195"/>
                  </a:lnTo>
                  <a:lnTo>
                    <a:pt x="82" y="197"/>
                  </a:lnTo>
                  <a:lnTo>
                    <a:pt x="79" y="197"/>
                  </a:lnTo>
                  <a:lnTo>
                    <a:pt x="79" y="203"/>
                  </a:lnTo>
                  <a:lnTo>
                    <a:pt x="79" y="212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90" y="225"/>
                  </a:lnTo>
                  <a:lnTo>
                    <a:pt x="97" y="234"/>
                  </a:lnTo>
                  <a:lnTo>
                    <a:pt x="103" y="236"/>
                  </a:lnTo>
                  <a:lnTo>
                    <a:pt x="105" y="246"/>
                  </a:lnTo>
                  <a:lnTo>
                    <a:pt x="97" y="255"/>
                  </a:lnTo>
                  <a:lnTo>
                    <a:pt x="101" y="262"/>
                  </a:lnTo>
                  <a:lnTo>
                    <a:pt x="95" y="264"/>
                  </a:lnTo>
                  <a:lnTo>
                    <a:pt x="95" y="266"/>
                  </a:lnTo>
                  <a:lnTo>
                    <a:pt x="90" y="264"/>
                  </a:lnTo>
                  <a:lnTo>
                    <a:pt x="86" y="270"/>
                  </a:lnTo>
                  <a:lnTo>
                    <a:pt x="79" y="275"/>
                  </a:lnTo>
                  <a:lnTo>
                    <a:pt x="73" y="275"/>
                  </a:lnTo>
                  <a:lnTo>
                    <a:pt x="79" y="277"/>
                  </a:lnTo>
                  <a:lnTo>
                    <a:pt x="79" y="285"/>
                  </a:lnTo>
                  <a:lnTo>
                    <a:pt x="79" y="292"/>
                  </a:lnTo>
                  <a:lnTo>
                    <a:pt x="75" y="294"/>
                  </a:lnTo>
                  <a:lnTo>
                    <a:pt x="79" y="298"/>
                  </a:lnTo>
                  <a:lnTo>
                    <a:pt x="75" y="316"/>
                  </a:lnTo>
                  <a:lnTo>
                    <a:pt x="71" y="335"/>
                  </a:lnTo>
                  <a:lnTo>
                    <a:pt x="56" y="335"/>
                  </a:lnTo>
                  <a:lnTo>
                    <a:pt x="51" y="339"/>
                  </a:lnTo>
                  <a:lnTo>
                    <a:pt x="45" y="341"/>
                  </a:lnTo>
                  <a:lnTo>
                    <a:pt x="45" y="344"/>
                  </a:lnTo>
                  <a:lnTo>
                    <a:pt x="47" y="346"/>
                  </a:lnTo>
                  <a:lnTo>
                    <a:pt x="45" y="354"/>
                  </a:lnTo>
                  <a:lnTo>
                    <a:pt x="41" y="354"/>
                  </a:lnTo>
                  <a:lnTo>
                    <a:pt x="32" y="354"/>
                  </a:lnTo>
                  <a:lnTo>
                    <a:pt x="30" y="354"/>
                  </a:lnTo>
                  <a:lnTo>
                    <a:pt x="30" y="344"/>
                  </a:lnTo>
                  <a:lnTo>
                    <a:pt x="23" y="335"/>
                  </a:lnTo>
                  <a:lnTo>
                    <a:pt x="25" y="331"/>
                  </a:lnTo>
                  <a:lnTo>
                    <a:pt x="23" y="329"/>
                  </a:lnTo>
                  <a:lnTo>
                    <a:pt x="25" y="329"/>
                  </a:lnTo>
                  <a:lnTo>
                    <a:pt x="25" y="324"/>
                  </a:lnTo>
                  <a:lnTo>
                    <a:pt x="21" y="316"/>
                  </a:lnTo>
                  <a:lnTo>
                    <a:pt x="15" y="305"/>
                  </a:lnTo>
                  <a:lnTo>
                    <a:pt x="8" y="294"/>
                  </a:lnTo>
                  <a:lnTo>
                    <a:pt x="10" y="290"/>
                  </a:lnTo>
                  <a:lnTo>
                    <a:pt x="8" y="283"/>
                  </a:lnTo>
                  <a:lnTo>
                    <a:pt x="6" y="285"/>
                  </a:lnTo>
                  <a:lnTo>
                    <a:pt x="2" y="279"/>
                  </a:lnTo>
                  <a:lnTo>
                    <a:pt x="0" y="266"/>
                  </a:lnTo>
                  <a:lnTo>
                    <a:pt x="0" y="264"/>
                  </a:lnTo>
                  <a:lnTo>
                    <a:pt x="8" y="266"/>
                  </a:lnTo>
                  <a:lnTo>
                    <a:pt x="8" y="249"/>
                  </a:lnTo>
                  <a:lnTo>
                    <a:pt x="10" y="246"/>
                  </a:lnTo>
                  <a:lnTo>
                    <a:pt x="10" y="244"/>
                  </a:lnTo>
                  <a:lnTo>
                    <a:pt x="17" y="244"/>
                  </a:lnTo>
                  <a:lnTo>
                    <a:pt x="21" y="234"/>
                  </a:lnTo>
                  <a:lnTo>
                    <a:pt x="21" y="227"/>
                  </a:lnTo>
                  <a:lnTo>
                    <a:pt x="15" y="216"/>
                  </a:lnTo>
                  <a:lnTo>
                    <a:pt x="21" y="212"/>
                  </a:lnTo>
                  <a:lnTo>
                    <a:pt x="23" y="205"/>
                  </a:lnTo>
                  <a:lnTo>
                    <a:pt x="17" y="201"/>
                  </a:lnTo>
                  <a:lnTo>
                    <a:pt x="15" y="197"/>
                  </a:lnTo>
                  <a:lnTo>
                    <a:pt x="10" y="180"/>
                  </a:lnTo>
                  <a:lnTo>
                    <a:pt x="8" y="167"/>
                  </a:lnTo>
                  <a:lnTo>
                    <a:pt x="10" y="160"/>
                  </a:lnTo>
                  <a:lnTo>
                    <a:pt x="8" y="154"/>
                  </a:lnTo>
                  <a:lnTo>
                    <a:pt x="8" y="145"/>
                  </a:lnTo>
                  <a:lnTo>
                    <a:pt x="17" y="136"/>
                  </a:lnTo>
                  <a:lnTo>
                    <a:pt x="23" y="132"/>
                  </a:lnTo>
                  <a:lnTo>
                    <a:pt x="36" y="136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0" y="121"/>
                  </a:lnTo>
                  <a:lnTo>
                    <a:pt x="36" y="106"/>
                  </a:lnTo>
                  <a:lnTo>
                    <a:pt x="41" y="95"/>
                  </a:lnTo>
                  <a:lnTo>
                    <a:pt x="41" y="76"/>
                  </a:lnTo>
                  <a:lnTo>
                    <a:pt x="47" y="72"/>
                  </a:lnTo>
                  <a:lnTo>
                    <a:pt x="47" y="65"/>
                  </a:lnTo>
                  <a:lnTo>
                    <a:pt x="56" y="52"/>
                  </a:lnTo>
                  <a:lnTo>
                    <a:pt x="60" y="50"/>
                  </a:lnTo>
                  <a:lnTo>
                    <a:pt x="56" y="41"/>
                  </a:lnTo>
                  <a:lnTo>
                    <a:pt x="62" y="35"/>
                  </a:lnTo>
                  <a:lnTo>
                    <a:pt x="62" y="26"/>
                  </a:lnTo>
                  <a:lnTo>
                    <a:pt x="71" y="26"/>
                  </a:lnTo>
                  <a:lnTo>
                    <a:pt x="79" y="26"/>
                  </a:lnTo>
                  <a:lnTo>
                    <a:pt x="79" y="22"/>
                  </a:lnTo>
                  <a:lnTo>
                    <a:pt x="79" y="16"/>
                  </a:lnTo>
                  <a:lnTo>
                    <a:pt x="82" y="11"/>
                  </a:lnTo>
                  <a:lnTo>
                    <a:pt x="90" y="16"/>
                  </a:lnTo>
                  <a:lnTo>
                    <a:pt x="103" y="20"/>
                  </a:lnTo>
                  <a:lnTo>
                    <a:pt x="105" y="16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6" name="Freeform 39"/>
            <p:cNvSpPr>
              <a:spLocks noChangeAspect="1"/>
            </p:cNvSpPr>
            <p:nvPr/>
          </p:nvSpPr>
          <p:spPr bwMode="auto">
            <a:xfrm>
              <a:off x="2894" y="1589"/>
              <a:ext cx="15" cy="26"/>
            </a:xfrm>
            <a:custGeom>
              <a:avLst/>
              <a:gdLst>
                <a:gd name="T0" fmla="*/ 2 w 13"/>
                <a:gd name="T1" fmla="*/ 26 h 26"/>
                <a:gd name="T2" fmla="*/ 0 w 13"/>
                <a:gd name="T3" fmla="*/ 8 h 26"/>
                <a:gd name="T4" fmla="*/ 103 w 13"/>
                <a:gd name="T5" fmla="*/ 0 h 26"/>
                <a:gd name="T6" fmla="*/ 263 w 13"/>
                <a:gd name="T7" fmla="*/ 0 h 26"/>
                <a:gd name="T8" fmla="*/ 228 w 13"/>
                <a:gd name="T9" fmla="*/ 4 h 26"/>
                <a:gd name="T10" fmla="*/ 228 w 13"/>
                <a:gd name="T11" fmla="*/ 13 h 26"/>
                <a:gd name="T12" fmla="*/ 228 w 13"/>
                <a:gd name="T13" fmla="*/ 15 h 26"/>
                <a:gd name="T14" fmla="*/ 2 w 13"/>
                <a:gd name="T15" fmla="*/ 26 h 2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26"/>
                <a:gd name="T26" fmla="*/ 13 w 13"/>
                <a:gd name="T27" fmla="*/ 26 h 2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26">
                  <a:moveTo>
                    <a:pt x="2" y="26"/>
                  </a:moveTo>
                  <a:lnTo>
                    <a:pt x="0" y="8"/>
                  </a:lnTo>
                  <a:lnTo>
                    <a:pt x="6" y="0"/>
                  </a:lnTo>
                  <a:lnTo>
                    <a:pt x="13" y="0"/>
                  </a:lnTo>
                  <a:lnTo>
                    <a:pt x="11" y="4"/>
                  </a:lnTo>
                  <a:lnTo>
                    <a:pt x="11" y="13"/>
                  </a:lnTo>
                  <a:lnTo>
                    <a:pt x="11" y="15"/>
                  </a:lnTo>
                  <a:lnTo>
                    <a:pt x="2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7" name="Freeform 40"/>
            <p:cNvSpPr>
              <a:spLocks noChangeAspect="1"/>
            </p:cNvSpPr>
            <p:nvPr/>
          </p:nvSpPr>
          <p:spPr bwMode="auto">
            <a:xfrm>
              <a:off x="2873" y="1604"/>
              <a:ext cx="7" cy="26"/>
            </a:xfrm>
            <a:custGeom>
              <a:avLst/>
              <a:gdLst>
                <a:gd name="T0" fmla="*/ 0 w 7"/>
                <a:gd name="T1" fmla="*/ 26 h 26"/>
                <a:gd name="T2" fmla="*/ 0 w 7"/>
                <a:gd name="T3" fmla="*/ 17 h 26"/>
                <a:gd name="T4" fmla="*/ 3 w 7"/>
                <a:gd name="T5" fmla="*/ 8 h 26"/>
                <a:gd name="T6" fmla="*/ 3 w 7"/>
                <a:gd name="T7" fmla="*/ 2 h 26"/>
                <a:gd name="T8" fmla="*/ 7 w 7"/>
                <a:gd name="T9" fmla="*/ 0 h 26"/>
                <a:gd name="T10" fmla="*/ 3 w 7"/>
                <a:gd name="T11" fmla="*/ 11 h 26"/>
                <a:gd name="T12" fmla="*/ 0 w 7"/>
                <a:gd name="T13" fmla="*/ 26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26"/>
                <a:gd name="T23" fmla="*/ 7 w 7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26">
                  <a:moveTo>
                    <a:pt x="0" y="26"/>
                  </a:moveTo>
                  <a:lnTo>
                    <a:pt x="0" y="17"/>
                  </a:lnTo>
                  <a:lnTo>
                    <a:pt x="3" y="8"/>
                  </a:lnTo>
                  <a:lnTo>
                    <a:pt x="3" y="2"/>
                  </a:lnTo>
                  <a:lnTo>
                    <a:pt x="7" y="0"/>
                  </a:lnTo>
                  <a:lnTo>
                    <a:pt x="3" y="11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8" name="Freeform 41"/>
            <p:cNvSpPr>
              <a:spLocks noChangeAspect="1"/>
            </p:cNvSpPr>
            <p:nvPr/>
          </p:nvSpPr>
          <p:spPr bwMode="auto">
            <a:xfrm>
              <a:off x="2846" y="1654"/>
              <a:ext cx="6" cy="9"/>
            </a:xfrm>
            <a:custGeom>
              <a:avLst/>
              <a:gdLst>
                <a:gd name="T0" fmla="*/ 2 w 6"/>
                <a:gd name="T1" fmla="*/ 9 h 9"/>
                <a:gd name="T2" fmla="*/ 0 w 6"/>
                <a:gd name="T3" fmla="*/ 5 h 9"/>
                <a:gd name="T4" fmla="*/ 0 w 6"/>
                <a:gd name="T5" fmla="*/ 0 h 9"/>
                <a:gd name="T6" fmla="*/ 6 w 6"/>
                <a:gd name="T7" fmla="*/ 5 h 9"/>
                <a:gd name="T8" fmla="*/ 2 w 6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2" y="9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6" y="5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49" name="Freeform 42"/>
            <p:cNvSpPr>
              <a:spLocks noChangeAspect="1"/>
            </p:cNvSpPr>
            <p:nvPr/>
          </p:nvSpPr>
          <p:spPr bwMode="auto">
            <a:xfrm>
              <a:off x="2714" y="1821"/>
              <a:ext cx="74" cy="41"/>
            </a:xfrm>
            <a:custGeom>
              <a:avLst/>
              <a:gdLst>
                <a:gd name="T0" fmla="*/ 138 w 67"/>
                <a:gd name="T1" fmla="*/ 7 h 41"/>
                <a:gd name="T2" fmla="*/ 186 w 67"/>
                <a:gd name="T3" fmla="*/ 7 h 41"/>
                <a:gd name="T4" fmla="*/ 215 w 67"/>
                <a:gd name="T5" fmla="*/ 7 h 41"/>
                <a:gd name="T6" fmla="*/ 215 w 67"/>
                <a:gd name="T7" fmla="*/ 7 h 41"/>
                <a:gd name="T8" fmla="*/ 250 w 67"/>
                <a:gd name="T9" fmla="*/ 7 h 41"/>
                <a:gd name="T10" fmla="*/ 273 w 67"/>
                <a:gd name="T11" fmla="*/ 7 h 41"/>
                <a:gd name="T12" fmla="*/ 273 w 67"/>
                <a:gd name="T13" fmla="*/ 5 h 41"/>
                <a:gd name="T14" fmla="*/ 311 w 67"/>
                <a:gd name="T15" fmla="*/ 0 h 41"/>
                <a:gd name="T16" fmla="*/ 334 w 67"/>
                <a:gd name="T17" fmla="*/ 0 h 41"/>
                <a:gd name="T18" fmla="*/ 343 w 67"/>
                <a:gd name="T19" fmla="*/ 0 h 41"/>
                <a:gd name="T20" fmla="*/ 343 w 67"/>
                <a:gd name="T21" fmla="*/ 5 h 41"/>
                <a:gd name="T22" fmla="*/ 379 w 67"/>
                <a:gd name="T23" fmla="*/ 5 h 41"/>
                <a:gd name="T24" fmla="*/ 408 w 67"/>
                <a:gd name="T25" fmla="*/ 5 h 41"/>
                <a:gd name="T26" fmla="*/ 430 w 67"/>
                <a:gd name="T27" fmla="*/ 5 h 41"/>
                <a:gd name="T28" fmla="*/ 466 w 67"/>
                <a:gd name="T29" fmla="*/ 7 h 41"/>
                <a:gd name="T30" fmla="*/ 430 w 67"/>
                <a:gd name="T31" fmla="*/ 11 h 41"/>
                <a:gd name="T32" fmla="*/ 430 w 67"/>
                <a:gd name="T33" fmla="*/ 11 h 41"/>
                <a:gd name="T34" fmla="*/ 466 w 67"/>
                <a:gd name="T35" fmla="*/ 16 h 41"/>
                <a:gd name="T36" fmla="*/ 466 w 67"/>
                <a:gd name="T37" fmla="*/ 16 h 41"/>
                <a:gd name="T38" fmla="*/ 466 w 67"/>
                <a:gd name="T39" fmla="*/ 20 h 41"/>
                <a:gd name="T40" fmla="*/ 509 w 67"/>
                <a:gd name="T41" fmla="*/ 20 h 41"/>
                <a:gd name="T42" fmla="*/ 553 w 67"/>
                <a:gd name="T43" fmla="*/ 22 h 41"/>
                <a:gd name="T44" fmla="*/ 564 w 67"/>
                <a:gd name="T45" fmla="*/ 22 h 41"/>
                <a:gd name="T46" fmla="*/ 553 w 67"/>
                <a:gd name="T47" fmla="*/ 29 h 41"/>
                <a:gd name="T48" fmla="*/ 509 w 67"/>
                <a:gd name="T49" fmla="*/ 29 h 41"/>
                <a:gd name="T50" fmla="*/ 509 w 67"/>
                <a:gd name="T51" fmla="*/ 35 h 41"/>
                <a:gd name="T52" fmla="*/ 466 w 67"/>
                <a:gd name="T53" fmla="*/ 31 h 41"/>
                <a:gd name="T54" fmla="*/ 466 w 67"/>
                <a:gd name="T55" fmla="*/ 31 h 41"/>
                <a:gd name="T56" fmla="*/ 430 w 67"/>
                <a:gd name="T57" fmla="*/ 29 h 41"/>
                <a:gd name="T58" fmla="*/ 408 w 67"/>
                <a:gd name="T59" fmla="*/ 29 h 41"/>
                <a:gd name="T60" fmla="*/ 408 w 67"/>
                <a:gd name="T61" fmla="*/ 35 h 41"/>
                <a:gd name="T62" fmla="*/ 379 w 67"/>
                <a:gd name="T63" fmla="*/ 37 h 41"/>
                <a:gd name="T64" fmla="*/ 273 w 67"/>
                <a:gd name="T65" fmla="*/ 35 h 41"/>
                <a:gd name="T66" fmla="*/ 215 w 67"/>
                <a:gd name="T67" fmla="*/ 41 h 41"/>
                <a:gd name="T68" fmla="*/ 215 w 67"/>
                <a:gd name="T69" fmla="*/ 37 h 41"/>
                <a:gd name="T70" fmla="*/ 125 w 67"/>
                <a:gd name="T71" fmla="*/ 41 h 41"/>
                <a:gd name="T72" fmla="*/ 92 w 67"/>
                <a:gd name="T73" fmla="*/ 35 h 41"/>
                <a:gd name="T74" fmla="*/ 46 w 67"/>
                <a:gd name="T75" fmla="*/ 29 h 41"/>
                <a:gd name="T76" fmla="*/ 0 w 67"/>
                <a:gd name="T77" fmla="*/ 31 h 41"/>
                <a:gd name="T78" fmla="*/ 0 w 67"/>
                <a:gd name="T79" fmla="*/ 29 h 41"/>
                <a:gd name="T80" fmla="*/ 46 w 67"/>
                <a:gd name="T81" fmla="*/ 20 h 41"/>
                <a:gd name="T82" fmla="*/ 92 w 67"/>
                <a:gd name="T83" fmla="*/ 11 h 41"/>
                <a:gd name="T84" fmla="*/ 92 w 67"/>
                <a:gd name="T85" fmla="*/ 7 h 41"/>
                <a:gd name="T86" fmla="*/ 138 w 67"/>
                <a:gd name="T87" fmla="*/ 7 h 4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7"/>
                <a:gd name="T133" fmla="*/ 0 h 41"/>
                <a:gd name="T134" fmla="*/ 67 w 67"/>
                <a:gd name="T135" fmla="*/ 41 h 4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7" h="41">
                  <a:moveTo>
                    <a:pt x="17" y="7"/>
                  </a:moveTo>
                  <a:lnTo>
                    <a:pt x="21" y="7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2" y="5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1" y="5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52" y="5"/>
                  </a:lnTo>
                  <a:lnTo>
                    <a:pt x="56" y="7"/>
                  </a:lnTo>
                  <a:lnTo>
                    <a:pt x="52" y="11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5" y="22"/>
                  </a:lnTo>
                  <a:lnTo>
                    <a:pt x="67" y="22"/>
                  </a:lnTo>
                  <a:lnTo>
                    <a:pt x="65" y="29"/>
                  </a:lnTo>
                  <a:lnTo>
                    <a:pt x="60" y="29"/>
                  </a:lnTo>
                  <a:lnTo>
                    <a:pt x="60" y="35"/>
                  </a:lnTo>
                  <a:lnTo>
                    <a:pt x="56" y="31"/>
                  </a:lnTo>
                  <a:lnTo>
                    <a:pt x="52" y="29"/>
                  </a:lnTo>
                  <a:lnTo>
                    <a:pt x="47" y="29"/>
                  </a:lnTo>
                  <a:lnTo>
                    <a:pt x="47" y="35"/>
                  </a:lnTo>
                  <a:lnTo>
                    <a:pt x="45" y="37"/>
                  </a:lnTo>
                  <a:lnTo>
                    <a:pt x="32" y="35"/>
                  </a:lnTo>
                  <a:lnTo>
                    <a:pt x="26" y="41"/>
                  </a:lnTo>
                  <a:lnTo>
                    <a:pt x="26" y="37"/>
                  </a:lnTo>
                  <a:lnTo>
                    <a:pt x="15" y="41"/>
                  </a:lnTo>
                  <a:lnTo>
                    <a:pt x="11" y="35"/>
                  </a:lnTo>
                  <a:lnTo>
                    <a:pt x="6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6" y="20"/>
                  </a:lnTo>
                  <a:lnTo>
                    <a:pt x="11" y="11"/>
                  </a:lnTo>
                  <a:lnTo>
                    <a:pt x="11" y="7"/>
                  </a:lnTo>
                  <a:lnTo>
                    <a:pt x="17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0" name="Freeform 43"/>
            <p:cNvSpPr>
              <a:spLocks noChangeAspect="1"/>
            </p:cNvSpPr>
            <p:nvPr/>
          </p:nvSpPr>
          <p:spPr bwMode="auto">
            <a:xfrm>
              <a:off x="2452" y="1907"/>
              <a:ext cx="215" cy="152"/>
            </a:xfrm>
            <a:custGeom>
              <a:avLst/>
              <a:gdLst>
                <a:gd name="T0" fmla="*/ 1018 w 195"/>
                <a:gd name="T1" fmla="*/ 15 h 149"/>
                <a:gd name="T2" fmla="*/ 1284 w 195"/>
                <a:gd name="T3" fmla="*/ 21 h 149"/>
                <a:gd name="T4" fmla="*/ 1351 w 195"/>
                <a:gd name="T5" fmla="*/ 21 h 149"/>
                <a:gd name="T6" fmla="*/ 1449 w 195"/>
                <a:gd name="T7" fmla="*/ 23 h 149"/>
                <a:gd name="T8" fmla="*/ 1572 w 195"/>
                <a:gd name="T9" fmla="*/ 23 h 149"/>
                <a:gd name="T10" fmla="*/ 1572 w 195"/>
                <a:gd name="T11" fmla="*/ 50 h 149"/>
                <a:gd name="T12" fmla="*/ 1520 w 195"/>
                <a:gd name="T13" fmla="*/ 61 h 149"/>
                <a:gd name="T14" fmla="*/ 1351 w 195"/>
                <a:gd name="T15" fmla="*/ 69 h 149"/>
                <a:gd name="T16" fmla="*/ 1284 w 195"/>
                <a:gd name="T17" fmla="*/ 74 h 149"/>
                <a:gd name="T18" fmla="*/ 1225 w 195"/>
                <a:gd name="T19" fmla="*/ 103 h 149"/>
                <a:gd name="T20" fmla="*/ 1141 w 195"/>
                <a:gd name="T21" fmla="*/ 126 h 149"/>
                <a:gd name="T22" fmla="*/ 1193 w 195"/>
                <a:gd name="T23" fmla="*/ 146 h 149"/>
                <a:gd name="T24" fmla="*/ 1109 w 195"/>
                <a:gd name="T25" fmla="*/ 162 h 149"/>
                <a:gd name="T26" fmla="*/ 1081 w 195"/>
                <a:gd name="T27" fmla="*/ 174 h 149"/>
                <a:gd name="T28" fmla="*/ 981 w 195"/>
                <a:gd name="T29" fmla="*/ 180 h 149"/>
                <a:gd name="T30" fmla="*/ 890 w 195"/>
                <a:gd name="T31" fmla="*/ 203 h 149"/>
                <a:gd name="T32" fmla="*/ 837 w 195"/>
                <a:gd name="T33" fmla="*/ 199 h 149"/>
                <a:gd name="T34" fmla="*/ 789 w 195"/>
                <a:gd name="T35" fmla="*/ 203 h 149"/>
                <a:gd name="T36" fmla="*/ 719 w 195"/>
                <a:gd name="T37" fmla="*/ 203 h 149"/>
                <a:gd name="T38" fmla="*/ 601 w 195"/>
                <a:gd name="T39" fmla="*/ 206 h 149"/>
                <a:gd name="T40" fmla="*/ 472 w 195"/>
                <a:gd name="T41" fmla="*/ 220 h 149"/>
                <a:gd name="T42" fmla="*/ 338 w 195"/>
                <a:gd name="T43" fmla="*/ 203 h 149"/>
                <a:gd name="T44" fmla="*/ 262 w 195"/>
                <a:gd name="T45" fmla="*/ 191 h 149"/>
                <a:gd name="T46" fmla="*/ 226 w 195"/>
                <a:gd name="T47" fmla="*/ 168 h 149"/>
                <a:gd name="T48" fmla="*/ 289 w 195"/>
                <a:gd name="T49" fmla="*/ 155 h 149"/>
                <a:gd name="T50" fmla="*/ 262 w 195"/>
                <a:gd name="T51" fmla="*/ 140 h 149"/>
                <a:gd name="T52" fmla="*/ 226 w 195"/>
                <a:gd name="T53" fmla="*/ 120 h 149"/>
                <a:gd name="T54" fmla="*/ 319 w 195"/>
                <a:gd name="T55" fmla="*/ 93 h 149"/>
                <a:gd name="T56" fmla="*/ 380 w 195"/>
                <a:gd name="T57" fmla="*/ 61 h 149"/>
                <a:gd name="T58" fmla="*/ 319 w 195"/>
                <a:gd name="T59" fmla="*/ 56 h 149"/>
                <a:gd name="T60" fmla="*/ 212 w 195"/>
                <a:gd name="T61" fmla="*/ 56 h 149"/>
                <a:gd name="T62" fmla="*/ 126 w 195"/>
                <a:gd name="T63" fmla="*/ 50 h 149"/>
                <a:gd name="T64" fmla="*/ 61 w 195"/>
                <a:gd name="T65" fmla="*/ 50 h 149"/>
                <a:gd name="T66" fmla="*/ 61 w 195"/>
                <a:gd name="T67" fmla="*/ 21 h 149"/>
                <a:gd name="T68" fmla="*/ 41 w 195"/>
                <a:gd name="T69" fmla="*/ 17 h 149"/>
                <a:gd name="T70" fmla="*/ 61 w 195"/>
                <a:gd name="T71" fmla="*/ 6 h 149"/>
                <a:gd name="T72" fmla="*/ 126 w 195"/>
                <a:gd name="T73" fmla="*/ 2 h 149"/>
                <a:gd name="T74" fmla="*/ 226 w 195"/>
                <a:gd name="T75" fmla="*/ 2 h 149"/>
                <a:gd name="T76" fmla="*/ 448 w 195"/>
                <a:gd name="T77" fmla="*/ 2 h 149"/>
                <a:gd name="T78" fmla="*/ 719 w 195"/>
                <a:gd name="T79" fmla="*/ 6 h 149"/>
                <a:gd name="T80" fmla="*/ 981 w 195"/>
                <a:gd name="T81" fmla="*/ 6 h 14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95"/>
                <a:gd name="T124" fmla="*/ 0 h 149"/>
                <a:gd name="T125" fmla="*/ 195 w 195"/>
                <a:gd name="T126" fmla="*/ 149 h 149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95" h="149">
                  <a:moveTo>
                    <a:pt x="119" y="6"/>
                  </a:moveTo>
                  <a:lnTo>
                    <a:pt x="123" y="15"/>
                  </a:lnTo>
                  <a:lnTo>
                    <a:pt x="145" y="21"/>
                  </a:lnTo>
                  <a:lnTo>
                    <a:pt x="154" y="21"/>
                  </a:lnTo>
                  <a:lnTo>
                    <a:pt x="154" y="17"/>
                  </a:lnTo>
                  <a:lnTo>
                    <a:pt x="164" y="21"/>
                  </a:lnTo>
                  <a:lnTo>
                    <a:pt x="169" y="26"/>
                  </a:lnTo>
                  <a:lnTo>
                    <a:pt x="175" y="23"/>
                  </a:lnTo>
                  <a:lnTo>
                    <a:pt x="184" y="26"/>
                  </a:lnTo>
                  <a:lnTo>
                    <a:pt x="190" y="23"/>
                  </a:lnTo>
                  <a:lnTo>
                    <a:pt x="195" y="26"/>
                  </a:lnTo>
                  <a:lnTo>
                    <a:pt x="190" y="30"/>
                  </a:lnTo>
                  <a:lnTo>
                    <a:pt x="190" y="36"/>
                  </a:lnTo>
                  <a:lnTo>
                    <a:pt x="184" y="41"/>
                  </a:lnTo>
                  <a:lnTo>
                    <a:pt x="175" y="49"/>
                  </a:lnTo>
                  <a:lnTo>
                    <a:pt x="164" y="49"/>
                  </a:lnTo>
                  <a:lnTo>
                    <a:pt x="158" y="54"/>
                  </a:lnTo>
                  <a:lnTo>
                    <a:pt x="154" y="54"/>
                  </a:lnTo>
                  <a:lnTo>
                    <a:pt x="154" y="64"/>
                  </a:lnTo>
                  <a:lnTo>
                    <a:pt x="149" y="69"/>
                  </a:lnTo>
                  <a:lnTo>
                    <a:pt x="136" y="80"/>
                  </a:lnTo>
                  <a:lnTo>
                    <a:pt x="139" y="86"/>
                  </a:lnTo>
                  <a:lnTo>
                    <a:pt x="145" y="95"/>
                  </a:lnTo>
                  <a:lnTo>
                    <a:pt x="145" y="99"/>
                  </a:lnTo>
                  <a:lnTo>
                    <a:pt x="139" y="103"/>
                  </a:lnTo>
                  <a:lnTo>
                    <a:pt x="134" y="110"/>
                  </a:lnTo>
                  <a:lnTo>
                    <a:pt x="130" y="114"/>
                  </a:lnTo>
                  <a:lnTo>
                    <a:pt x="130" y="118"/>
                  </a:lnTo>
                  <a:lnTo>
                    <a:pt x="126" y="121"/>
                  </a:lnTo>
                  <a:lnTo>
                    <a:pt x="119" y="121"/>
                  </a:lnTo>
                  <a:lnTo>
                    <a:pt x="110" y="127"/>
                  </a:lnTo>
                  <a:lnTo>
                    <a:pt x="108" y="136"/>
                  </a:lnTo>
                  <a:lnTo>
                    <a:pt x="104" y="133"/>
                  </a:lnTo>
                  <a:lnTo>
                    <a:pt x="102" y="133"/>
                  </a:lnTo>
                  <a:lnTo>
                    <a:pt x="100" y="136"/>
                  </a:lnTo>
                  <a:lnTo>
                    <a:pt x="95" y="136"/>
                  </a:lnTo>
                  <a:lnTo>
                    <a:pt x="91" y="136"/>
                  </a:lnTo>
                  <a:lnTo>
                    <a:pt x="87" y="136"/>
                  </a:lnTo>
                  <a:lnTo>
                    <a:pt x="78" y="136"/>
                  </a:lnTo>
                  <a:lnTo>
                    <a:pt x="72" y="138"/>
                  </a:lnTo>
                  <a:lnTo>
                    <a:pt x="65" y="138"/>
                  </a:lnTo>
                  <a:lnTo>
                    <a:pt x="57" y="149"/>
                  </a:lnTo>
                  <a:lnTo>
                    <a:pt x="44" y="142"/>
                  </a:lnTo>
                  <a:lnTo>
                    <a:pt x="41" y="136"/>
                  </a:lnTo>
                  <a:lnTo>
                    <a:pt x="41" y="129"/>
                  </a:lnTo>
                  <a:lnTo>
                    <a:pt x="31" y="127"/>
                  </a:lnTo>
                  <a:lnTo>
                    <a:pt x="28" y="127"/>
                  </a:lnTo>
                  <a:lnTo>
                    <a:pt x="28" y="114"/>
                  </a:lnTo>
                  <a:lnTo>
                    <a:pt x="35" y="110"/>
                  </a:lnTo>
                  <a:lnTo>
                    <a:pt x="35" y="105"/>
                  </a:lnTo>
                  <a:lnTo>
                    <a:pt x="31" y="99"/>
                  </a:lnTo>
                  <a:lnTo>
                    <a:pt x="31" y="95"/>
                  </a:lnTo>
                  <a:lnTo>
                    <a:pt x="31" y="90"/>
                  </a:lnTo>
                  <a:lnTo>
                    <a:pt x="28" y="80"/>
                  </a:lnTo>
                  <a:lnTo>
                    <a:pt x="35" y="80"/>
                  </a:lnTo>
                  <a:lnTo>
                    <a:pt x="39" y="64"/>
                  </a:lnTo>
                  <a:lnTo>
                    <a:pt x="39" y="54"/>
                  </a:lnTo>
                  <a:lnTo>
                    <a:pt x="46" y="41"/>
                  </a:lnTo>
                  <a:lnTo>
                    <a:pt x="44" y="39"/>
                  </a:lnTo>
                  <a:lnTo>
                    <a:pt x="39" y="36"/>
                  </a:lnTo>
                  <a:lnTo>
                    <a:pt x="31" y="36"/>
                  </a:lnTo>
                  <a:lnTo>
                    <a:pt x="26" y="36"/>
                  </a:lnTo>
                  <a:lnTo>
                    <a:pt x="20" y="36"/>
                  </a:lnTo>
                  <a:lnTo>
                    <a:pt x="16" y="30"/>
                  </a:lnTo>
                  <a:lnTo>
                    <a:pt x="11" y="32"/>
                  </a:lnTo>
                  <a:lnTo>
                    <a:pt x="7" y="30"/>
                  </a:lnTo>
                  <a:lnTo>
                    <a:pt x="11" y="26"/>
                  </a:lnTo>
                  <a:lnTo>
                    <a:pt x="7" y="21"/>
                  </a:lnTo>
                  <a:lnTo>
                    <a:pt x="5" y="21"/>
                  </a:lnTo>
                  <a:lnTo>
                    <a:pt x="5" y="17"/>
                  </a:lnTo>
                  <a:lnTo>
                    <a:pt x="0" y="6"/>
                  </a:lnTo>
                  <a:lnTo>
                    <a:pt x="7" y="6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8" y="2"/>
                  </a:lnTo>
                  <a:lnTo>
                    <a:pt x="44" y="2"/>
                  </a:lnTo>
                  <a:lnTo>
                    <a:pt x="54" y="2"/>
                  </a:lnTo>
                  <a:lnTo>
                    <a:pt x="69" y="6"/>
                  </a:lnTo>
                  <a:lnTo>
                    <a:pt x="87" y="6"/>
                  </a:lnTo>
                  <a:lnTo>
                    <a:pt x="102" y="6"/>
                  </a:lnTo>
                  <a:lnTo>
                    <a:pt x="119" y="6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1" name="Freeform 44"/>
            <p:cNvSpPr>
              <a:spLocks noChangeAspect="1"/>
            </p:cNvSpPr>
            <p:nvPr/>
          </p:nvSpPr>
          <p:spPr bwMode="auto">
            <a:xfrm>
              <a:off x="2650" y="1983"/>
              <a:ext cx="21" cy="11"/>
            </a:xfrm>
            <a:custGeom>
              <a:avLst/>
              <a:gdLst>
                <a:gd name="T0" fmla="*/ 84 w 19"/>
                <a:gd name="T1" fmla="*/ 11 h 11"/>
                <a:gd name="T2" fmla="*/ 56 w 19"/>
                <a:gd name="T3" fmla="*/ 9 h 11"/>
                <a:gd name="T4" fmla="*/ 56 w 19"/>
                <a:gd name="T5" fmla="*/ 5 h 11"/>
                <a:gd name="T6" fmla="*/ 0 w 19"/>
                <a:gd name="T7" fmla="*/ 5 h 11"/>
                <a:gd name="T8" fmla="*/ 84 w 19"/>
                <a:gd name="T9" fmla="*/ 0 h 11"/>
                <a:gd name="T10" fmla="*/ 84 w 19"/>
                <a:gd name="T11" fmla="*/ 5 h 11"/>
                <a:gd name="T12" fmla="*/ 154 w 19"/>
                <a:gd name="T13" fmla="*/ 5 h 11"/>
                <a:gd name="T14" fmla="*/ 126 w 19"/>
                <a:gd name="T15" fmla="*/ 5 h 11"/>
                <a:gd name="T16" fmla="*/ 84 w 19"/>
                <a:gd name="T17" fmla="*/ 11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1"/>
                <a:gd name="T29" fmla="*/ 19 w 19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1">
                  <a:moveTo>
                    <a:pt x="10" y="11"/>
                  </a:moveTo>
                  <a:lnTo>
                    <a:pt x="8" y="9"/>
                  </a:lnTo>
                  <a:lnTo>
                    <a:pt x="8" y="5"/>
                  </a:lnTo>
                  <a:lnTo>
                    <a:pt x="0" y="5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19" y="5"/>
                  </a:lnTo>
                  <a:lnTo>
                    <a:pt x="15" y="5"/>
                  </a:lnTo>
                  <a:lnTo>
                    <a:pt x="10" y="11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2" name="Freeform 45"/>
            <p:cNvSpPr>
              <a:spLocks noChangeAspect="1"/>
            </p:cNvSpPr>
            <p:nvPr/>
          </p:nvSpPr>
          <p:spPr bwMode="auto">
            <a:xfrm>
              <a:off x="2671" y="1979"/>
              <a:ext cx="7" cy="4"/>
            </a:xfrm>
            <a:custGeom>
              <a:avLst/>
              <a:gdLst>
                <a:gd name="T0" fmla="*/ 166 w 6"/>
                <a:gd name="T1" fmla="*/ 4 h 4"/>
                <a:gd name="T2" fmla="*/ 0 w 6"/>
                <a:gd name="T3" fmla="*/ 0 h 4"/>
                <a:gd name="T4" fmla="*/ 166 w 6"/>
                <a:gd name="T5" fmla="*/ 0 h 4"/>
                <a:gd name="T6" fmla="*/ 166 w 6"/>
                <a:gd name="T7" fmla="*/ 4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4"/>
                <a:gd name="T14" fmla="*/ 6 w 6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4">
                  <a:moveTo>
                    <a:pt x="6" y="4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3" name="Freeform 46"/>
            <p:cNvSpPr>
              <a:spLocks noChangeAspect="1"/>
            </p:cNvSpPr>
            <p:nvPr/>
          </p:nvSpPr>
          <p:spPr bwMode="auto">
            <a:xfrm>
              <a:off x="2628" y="1999"/>
              <a:ext cx="8" cy="7"/>
            </a:xfrm>
            <a:custGeom>
              <a:avLst/>
              <a:gdLst>
                <a:gd name="T0" fmla="*/ 125 w 7"/>
                <a:gd name="T1" fmla="*/ 7 h 7"/>
                <a:gd name="T2" fmla="*/ 0 w 7"/>
                <a:gd name="T3" fmla="*/ 5 h 7"/>
                <a:gd name="T4" fmla="*/ 125 w 7"/>
                <a:gd name="T5" fmla="*/ 0 h 7"/>
                <a:gd name="T6" fmla="*/ 125 w 7"/>
                <a:gd name="T7" fmla="*/ 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7"/>
                <a:gd name="T14" fmla="*/ 7 w 7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7">
                  <a:moveTo>
                    <a:pt x="7" y="7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4" name="Freeform 47"/>
            <p:cNvSpPr>
              <a:spLocks noChangeAspect="1"/>
            </p:cNvSpPr>
            <p:nvPr/>
          </p:nvSpPr>
          <p:spPr bwMode="auto">
            <a:xfrm>
              <a:off x="2632" y="1926"/>
              <a:ext cx="12" cy="7"/>
            </a:xfrm>
            <a:custGeom>
              <a:avLst/>
              <a:gdLst>
                <a:gd name="T0" fmla="*/ 0 w 11"/>
                <a:gd name="T1" fmla="*/ 0 h 7"/>
                <a:gd name="T2" fmla="*/ 5 w 11"/>
                <a:gd name="T3" fmla="*/ 7 h 7"/>
                <a:gd name="T4" fmla="*/ 69 w 11"/>
                <a:gd name="T5" fmla="*/ 4 h 7"/>
                <a:gd name="T6" fmla="*/ 0 w 11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7"/>
                <a:gd name="T14" fmla="*/ 11 w 11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7">
                  <a:moveTo>
                    <a:pt x="0" y="0"/>
                  </a:moveTo>
                  <a:lnTo>
                    <a:pt x="5" y="7"/>
                  </a:lnTo>
                  <a:lnTo>
                    <a:pt x="11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1113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5" name="Freeform 48"/>
            <p:cNvSpPr>
              <a:spLocks noChangeAspect="1"/>
            </p:cNvSpPr>
            <p:nvPr/>
          </p:nvSpPr>
          <p:spPr bwMode="auto">
            <a:xfrm>
              <a:off x="3053" y="1937"/>
              <a:ext cx="331" cy="124"/>
            </a:xfrm>
            <a:custGeom>
              <a:avLst/>
              <a:gdLst>
                <a:gd name="T0" fmla="*/ 127 w 300"/>
                <a:gd name="T1" fmla="*/ 0 h 121"/>
                <a:gd name="T2" fmla="*/ 215 w 300"/>
                <a:gd name="T3" fmla="*/ 2 h 121"/>
                <a:gd name="T4" fmla="*/ 374 w 300"/>
                <a:gd name="T5" fmla="*/ 17 h 121"/>
                <a:gd name="T6" fmla="*/ 511 w 300"/>
                <a:gd name="T7" fmla="*/ 17 h 121"/>
                <a:gd name="T8" fmla="*/ 633 w 300"/>
                <a:gd name="T9" fmla="*/ 41 h 121"/>
                <a:gd name="T10" fmla="*/ 759 w 300"/>
                <a:gd name="T11" fmla="*/ 11 h 121"/>
                <a:gd name="T12" fmla="*/ 923 w 300"/>
                <a:gd name="T13" fmla="*/ 2 h 121"/>
                <a:gd name="T14" fmla="*/ 1110 w 300"/>
                <a:gd name="T15" fmla="*/ 0 h 121"/>
                <a:gd name="T16" fmla="*/ 1134 w 300"/>
                <a:gd name="T17" fmla="*/ 2 h 121"/>
                <a:gd name="T18" fmla="*/ 1272 w 300"/>
                <a:gd name="T19" fmla="*/ 9 h 121"/>
                <a:gd name="T20" fmla="*/ 1334 w 300"/>
                <a:gd name="T21" fmla="*/ 11 h 121"/>
                <a:gd name="T22" fmla="*/ 1472 w 300"/>
                <a:gd name="T23" fmla="*/ 41 h 121"/>
                <a:gd name="T24" fmla="*/ 1557 w 300"/>
                <a:gd name="T25" fmla="*/ 41 h 121"/>
                <a:gd name="T26" fmla="*/ 1760 w 300"/>
                <a:gd name="T27" fmla="*/ 41 h 121"/>
                <a:gd name="T28" fmla="*/ 1990 w 300"/>
                <a:gd name="T29" fmla="*/ 9 h 121"/>
                <a:gd name="T30" fmla="*/ 2284 w 300"/>
                <a:gd name="T31" fmla="*/ 15 h 121"/>
                <a:gd name="T32" fmla="*/ 2308 w 300"/>
                <a:gd name="T33" fmla="*/ 57 h 121"/>
                <a:gd name="T34" fmla="*/ 2375 w 300"/>
                <a:gd name="T35" fmla="*/ 79 h 121"/>
                <a:gd name="T36" fmla="*/ 2439 w 300"/>
                <a:gd name="T37" fmla="*/ 122 h 121"/>
                <a:gd name="T38" fmla="*/ 2486 w 300"/>
                <a:gd name="T39" fmla="*/ 138 h 121"/>
                <a:gd name="T40" fmla="*/ 2439 w 300"/>
                <a:gd name="T41" fmla="*/ 155 h 121"/>
                <a:gd name="T42" fmla="*/ 2235 w 300"/>
                <a:gd name="T43" fmla="*/ 147 h 121"/>
                <a:gd name="T44" fmla="*/ 2149 w 300"/>
                <a:gd name="T45" fmla="*/ 151 h 121"/>
                <a:gd name="T46" fmla="*/ 2024 w 300"/>
                <a:gd name="T47" fmla="*/ 155 h 121"/>
                <a:gd name="T48" fmla="*/ 1854 w 300"/>
                <a:gd name="T49" fmla="*/ 174 h 121"/>
                <a:gd name="T50" fmla="*/ 1646 w 300"/>
                <a:gd name="T51" fmla="*/ 167 h 121"/>
                <a:gd name="T52" fmla="*/ 1506 w 300"/>
                <a:gd name="T53" fmla="*/ 174 h 121"/>
                <a:gd name="T54" fmla="*/ 1429 w 300"/>
                <a:gd name="T55" fmla="*/ 167 h 121"/>
                <a:gd name="T56" fmla="*/ 1429 w 300"/>
                <a:gd name="T57" fmla="*/ 184 h 121"/>
                <a:gd name="T58" fmla="*/ 1357 w 300"/>
                <a:gd name="T59" fmla="*/ 197 h 121"/>
                <a:gd name="T60" fmla="*/ 1311 w 300"/>
                <a:gd name="T61" fmla="*/ 179 h 121"/>
                <a:gd name="T62" fmla="*/ 1334 w 300"/>
                <a:gd name="T63" fmla="*/ 167 h 121"/>
                <a:gd name="T64" fmla="*/ 1134 w 300"/>
                <a:gd name="T65" fmla="*/ 167 h 121"/>
                <a:gd name="T66" fmla="*/ 923 w 300"/>
                <a:gd name="T67" fmla="*/ 188 h 121"/>
                <a:gd name="T68" fmla="*/ 835 w 300"/>
                <a:gd name="T69" fmla="*/ 179 h 121"/>
                <a:gd name="T70" fmla="*/ 633 w 300"/>
                <a:gd name="T71" fmla="*/ 174 h 121"/>
                <a:gd name="T72" fmla="*/ 602 w 300"/>
                <a:gd name="T73" fmla="*/ 184 h 121"/>
                <a:gd name="T74" fmla="*/ 429 w 300"/>
                <a:gd name="T75" fmla="*/ 184 h 121"/>
                <a:gd name="T76" fmla="*/ 343 w 300"/>
                <a:gd name="T77" fmla="*/ 174 h 121"/>
                <a:gd name="T78" fmla="*/ 290 w 300"/>
                <a:gd name="T79" fmla="*/ 176 h 121"/>
                <a:gd name="T80" fmla="*/ 215 w 300"/>
                <a:gd name="T81" fmla="*/ 174 h 121"/>
                <a:gd name="T82" fmla="*/ 188 w 300"/>
                <a:gd name="T83" fmla="*/ 167 h 121"/>
                <a:gd name="T84" fmla="*/ 215 w 300"/>
                <a:gd name="T85" fmla="*/ 159 h 121"/>
                <a:gd name="T86" fmla="*/ 170 w 300"/>
                <a:gd name="T87" fmla="*/ 155 h 121"/>
                <a:gd name="T88" fmla="*/ 170 w 300"/>
                <a:gd name="T89" fmla="*/ 132 h 121"/>
                <a:gd name="T90" fmla="*/ 3 w 300"/>
                <a:gd name="T91" fmla="*/ 126 h 121"/>
                <a:gd name="T92" fmla="*/ 3 w 300"/>
                <a:gd name="T93" fmla="*/ 116 h 121"/>
                <a:gd name="T94" fmla="*/ 92 w 300"/>
                <a:gd name="T95" fmla="*/ 122 h 121"/>
                <a:gd name="T96" fmla="*/ 92 w 300"/>
                <a:gd name="T97" fmla="*/ 116 h 121"/>
                <a:gd name="T98" fmla="*/ 92 w 300"/>
                <a:gd name="T99" fmla="*/ 107 h 121"/>
                <a:gd name="T100" fmla="*/ 92 w 300"/>
                <a:gd name="T101" fmla="*/ 83 h 121"/>
                <a:gd name="T102" fmla="*/ 0 w 300"/>
                <a:gd name="T103" fmla="*/ 65 h 121"/>
                <a:gd name="T104" fmla="*/ 127 w 300"/>
                <a:gd name="T105" fmla="*/ 54 h 121"/>
                <a:gd name="T106" fmla="*/ 215 w 300"/>
                <a:gd name="T107" fmla="*/ 54 h 121"/>
                <a:gd name="T108" fmla="*/ 263 w 300"/>
                <a:gd name="T109" fmla="*/ 54 h 121"/>
                <a:gd name="T110" fmla="*/ 374 w 300"/>
                <a:gd name="T111" fmla="*/ 50 h 121"/>
                <a:gd name="T112" fmla="*/ 417 w 300"/>
                <a:gd name="T113" fmla="*/ 44 h 121"/>
                <a:gd name="T114" fmla="*/ 170 w 300"/>
                <a:gd name="T115" fmla="*/ 44 h 121"/>
                <a:gd name="T116" fmla="*/ 62 w 300"/>
                <a:gd name="T117" fmla="*/ 54 h 121"/>
                <a:gd name="T118" fmla="*/ 0 w 300"/>
                <a:gd name="T119" fmla="*/ 54 h 121"/>
                <a:gd name="T120" fmla="*/ 0 w 300"/>
                <a:gd name="T121" fmla="*/ 48 h 121"/>
                <a:gd name="T122" fmla="*/ 62 w 300"/>
                <a:gd name="T123" fmla="*/ 17 h 121"/>
                <a:gd name="T124" fmla="*/ 92 w 300"/>
                <a:gd name="T125" fmla="*/ 11 h 12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00"/>
                <a:gd name="T190" fmla="*/ 0 h 121"/>
                <a:gd name="T191" fmla="*/ 300 w 300"/>
                <a:gd name="T192" fmla="*/ 121 h 12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00" h="121">
                  <a:moveTo>
                    <a:pt x="3" y="6"/>
                  </a:moveTo>
                  <a:lnTo>
                    <a:pt x="16" y="0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6" y="9"/>
                  </a:lnTo>
                  <a:lnTo>
                    <a:pt x="44" y="17"/>
                  </a:lnTo>
                  <a:lnTo>
                    <a:pt x="59" y="17"/>
                  </a:lnTo>
                  <a:lnTo>
                    <a:pt x="61" y="17"/>
                  </a:lnTo>
                  <a:lnTo>
                    <a:pt x="67" y="21"/>
                  </a:lnTo>
                  <a:lnTo>
                    <a:pt x="76" y="21"/>
                  </a:lnTo>
                  <a:lnTo>
                    <a:pt x="80" y="15"/>
                  </a:lnTo>
                  <a:lnTo>
                    <a:pt x="91" y="11"/>
                  </a:lnTo>
                  <a:lnTo>
                    <a:pt x="100" y="6"/>
                  </a:lnTo>
                  <a:lnTo>
                    <a:pt x="111" y="2"/>
                  </a:lnTo>
                  <a:lnTo>
                    <a:pt x="132" y="2"/>
                  </a:lnTo>
                  <a:lnTo>
                    <a:pt x="132" y="0"/>
                  </a:lnTo>
                  <a:lnTo>
                    <a:pt x="136" y="0"/>
                  </a:lnTo>
                  <a:lnTo>
                    <a:pt x="136" y="2"/>
                  </a:lnTo>
                  <a:lnTo>
                    <a:pt x="145" y="9"/>
                  </a:lnTo>
                  <a:lnTo>
                    <a:pt x="152" y="9"/>
                  </a:lnTo>
                  <a:lnTo>
                    <a:pt x="160" y="15"/>
                  </a:lnTo>
                  <a:lnTo>
                    <a:pt x="160" y="11"/>
                  </a:lnTo>
                  <a:lnTo>
                    <a:pt x="162" y="15"/>
                  </a:lnTo>
                  <a:lnTo>
                    <a:pt x="175" y="21"/>
                  </a:lnTo>
                  <a:lnTo>
                    <a:pt x="180" y="17"/>
                  </a:lnTo>
                  <a:lnTo>
                    <a:pt x="186" y="21"/>
                  </a:lnTo>
                  <a:lnTo>
                    <a:pt x="203" y="17"/>
                  </a:lnTo>
                  <a:lnTo>
                    <a:pt x="210" y="21"/>
                  </a:lnTo>
                  <a:lnTo>
                    <a:pt x="225" y="17"/>
                  </a:lnTo>
                  <a:lnTo>
                    <a:pt x="236" y="9"/>
                  </a:lnTo>
                  <a:lnTo>
                    <a:pt x="259" y="6"/>
                  </a:lnTo>
                  <a:lnTo>
                    <a:pt x="272" y="15"/>
                  </a:lnTo>
                  <a:lnTo>
                    <a:pt x="275" y="24"/>
                  </a:lnTo>
                  <a:lnTo>
                    <a:pt x="275" y="37"/>
                  </a:lnTo>
                  <a:lnTo>
                    <a:pt x="290" y="43"/>
                  </a:lnTo>
                  <a:lnTo>
                    <a:pt x="283" y="50"/>
                  </a:lnTo>
                  <a:lnTo>
                    <a:pt x="290" y="65"/>
                  </a:lnTo>
                  <a:lnTo>
                    <a:pt x="292" y="75"/>
                  </a:lnTo>
                  <a:lnTo>
                    <a:pt x="292" y="78"/>
                  </a:lnTo>
                  <a:lnTo>
                    <a:pt x="296" y="86"/>
                  </a:lnTo>
                  <a:lnTo>
                    <a:pt x="300" y="95"/>
                  </a:lnTo>
                  <a:lnTo>
                    <a:pt x="292" y="95"/>
                  </a:lnTo>
                  <a:lnTo>
                    <a:pt x="277" y="93"/>
                  </a:lnTo>
                  <a:lnTo>
                    <a:pt x="268" y="91"/>
                  </a:lnTo>
                  <a:lnTo>
                    <a:pt x="259" y="95"/>
                  </a:lnTo>
                  <a:lnTo>
                    <a:pt x="257" y="93"/>
                  </a:lnTo>
                  <a:lnTo>
                    <a:pt x="251" y="95"/>
                  </a:lnTo>
                  <a:lnTo>
                    <a:pt x="242" y="95"/>
                  </a:lnTo>
                  <a:lnTo>
                    <a:pt x="236" y="95"/>
                  </a:lnTo>
                  <a:lnTo>
                    <a:pt x="221" y="106"/>
                  </a:lnTo>
                  <a:lnTo>
                    <a:pt x="210" y="106"/>
                  </a:lnTo>
                  <a:lnTo>
                    <a:pt x="197" y="101"/>
                  </a:lnTo>
                  <a:lnTo>
                    <a:pt x="188" y="106"/>
                  </a:lnTo>
                  <a:lnTo>
                    <a:pt x="180" y="106"/>
                  </a:lnTo>
                  <a:lnTo>
                    <a:pt x="175" y="101"/>
                  </a:lnTo>
                  <a:lnTo>
                    <a:pt x="171" y="101"/>
                  </a:lnTo>
                  <a:lnTo>
                    <a:pt x="171" y="110"/>
                  </a:lnTo>
                  <a:lnTo>
                    <a:pt x="171" y="114"/>
                  </a:lnTo>
                  <a:lnTo>
                    <a:pt x="171" y="116"/>
                  </a:lnTo>
                  <a:lnTo>
                    <a:pt x="162" y="121"/>
                  </a:lnTo>
                  <a:lnTo>
                    <a:pt x="160" y="116"/>
                  </a:lnTo>
                  <a:lnTo>
                    <a:pt x="156" y="110"/>
                  </a:lnTo>
                  <a:lnTo>
                    <a:pt x="160" y="106"/>
                  </a:lnTo>
                  <a:lnTo>
                    <a:pt x="160" y="101"/>
                  </a:lnTo>
                  <a:lnTo>
                    <a:pt x="152" y="108"/>
                  </a:lnTo>
                  <a:lnTo>
                    <a:pt x="136" y="101"/>
                  </a:lnTo>
                  <a:lnTo>
                    <a:pt x="126" y="114"/>
                  </a:lnTo>
                  <a:lnTo>
                    <a:pt x="111" y="116"/>
                  </a:lnTo>
                  <a:lnTo>
                    <a:pt x="102" y="116"/>
                  </a:lnTo>
                  <a:lnTo>
                    <a:pt x="100" y="110"/>
                  </a:lnTo>
                  <a:lnTo>
                    <a:pt x="82" y="106"/>
                  </a:lnTo>
                  <a:lnTo>
                    <a:pt x="76" y="106"/>
                  </a:lnTo>
                  <a:lnTo>
                    <a:pt x="76" y="114"/>
                  </a:lnTo>
                  <a:lnTo>
                    <a:pt x="72" y="114"/>
                  </a:lnTo>
                  <a:lnTo>
                    <a:pt x="61" y="116"/>
                  </a:lnTo>
                  <a:lnTo>
                    <a:pt x="52" y="114"/>
                  </a:lnTo>
                  <a:lnTo>
                    <a:pt x="50" y="108"/>
                  </a:lnTo>
                  <a:lnTo>
                    <a:pt x="41" y="106"/>
                  </a:lnTo>
                  <a:lnTo>
                    <a:pt x="37" y="106"/>
                  </a:lnTo>
                  <a:lnTo>
                    <a:pt x="35" y="108"/>
                  </a:lnTo>
                  <a:lnTo>
                    <a:pt x="26" y="108"/>
                  </a:lnTo>
                  <a:lnTo>
                    <a:pt x="26" y="106"/>
                  </a:lnTo>
                  <a:lnTo>
                    <a:pt x="37" y="101"/>
                  </a:lnTo>
                  <a:lnTo>
                    <a:pt x="22" y="101"/>
                  </a:lnTo>
                  <a:lnTo>
                    <a:pt x="20" y="97"/>
                  </a:lnTo>
                  <a:lnTo>
                    <a:pt x="26" y="97"/>
                  </a:lnTo>
                  <a:lnTo>
                    <a:pt x="26" y="95"/>
                  </a:lnTo>
                  <a:lnTo>
                    <a:pt x="20" y="95"/>
                  </a:lnTo>
                  <a:lnTo>
                    <a:pt x="20" y="91"/>
                  </a:lnTo>
                  <a:lnTo>
                    <a:pt x="20" y="82"/>
                  </a:lnTo>
                  <a:lnTo>
                    <a:pt x="11" y="78"/>
                  </a:lnTo>
                  <a:lnTo>
                    <a:pt x="3" y="78"/>
                  </a:lnTo>
                  <a:lnTo>
                    <a:pt x="7" y="75"/>
                  </a:lnTo>
                  <a:lnTo>
                    <a:pt x="3" y="71"/>
                  </a:lnTo>
                  <a:lnTo>
                    <a:pt x="7" y="71"/>
                  </a:lnTo>
                  <a:lnTo>
                    <a:pt x="11" y="75"/>
                  </a:lnTo>
                  <a:lnTo>
                    <a:pt x="16" y="75"/>
                  </a:lnTo>
                  <a:lnTo>
                    <a:pt x="11" y="71"/>
                  </a:lnTo>
                  <a:lnTo>
                    <a:pt x="16" y="65"/>
                  </a:lnTo>
                  <a:lnTo>
                    <a:pt x="11" y="65"/>
                  </a:lnTo>
                  <a:lnTo>
                    <a:pt x="11" y="58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11" y="37"/>
                  </a:lnTo>
                  <a:lnTo>
                    <a:pt x="16" y="34"/>
                  </a:lnTo>
                  <a:lnTo>
                    <a:pt x="26" y="37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31" y="34"/>
                  </a:lnTo>
                  <a:lnTo>
                    <a:pt x="44" y="34"/>
                  </a:lnTo>
                  <a:lnTo>
                    <a:pt x="44" y="30"/>
                  </a:lnTo>
                  <a:lnTo>
                    <a:pt x="57" y="24"/>
                  </a:lnTo>
                  <a:lnTo>
                    <a:pt x="50" y="24"/>
                  </a:lnTo>
                  <a:lnTo>
                    <a:pt x="35" y="21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7" y="34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7" y="28"/>
                  </a:lnTo>
                  <a:lnTo>
                    <a:pt x="0" y="28"/>
                  </a:lnTo>
                  <a:lnTo>
                    <a:pt x="7" y="24"/>
                  </a:lnTo>
                  <a:lnTo>
                    <a:pt x="7" y="17"/>
                  </a:lnTo>
                  <a:lnTo>
                    <a:pt x="11" y="15"/>
                  </a:lnTo>
                  <a:lnTo>
                    <a:pt x="11" y="11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6" name="Freeform 49"/>
            <p:cNvSpPr>
              <a:spLocks noChangeAspect="1"/>
            </p:cNvSpPr>
            <p:nvPr/>
          </p:nvSpPr>
          <p:spPr bwMode="auto">
            <a:xfrm>
              <a:off x="2880" y="1805"/>
              <a:ext cx="109" cy="62"/>
            </a:xfrm>
            <a:custGeom>
              <a:avLst/>
              <a:gdLst>
                <a:gd name="T0" fmla="*/ 637 w 99"/>
                <a:gd name="T1" fmla="*/ 5 h 61"/>
                <a:gd name="T2" fmla="*/ 723 w 99"/>
                <a:gd name="T3" fmla="*/ 11 h 61"/>
                <a:gd name="T4" fmla="*/ 687 w 99"/>
                <a:gd name="T5" fmla="*/ 11 h 61"/>
                <a:gd name="T6" fmla="*/ 637 w 99"/>
                <a:gd name="T7" fmla="*/ 15 h 61"/>
                <a:gd name="T8" fmla="*/ 612 w 99"/>
                <a:gd name="T9" fmla="*/ 22 h 61"/>
                <a:gd name="T10" fmla="*/ 571 w 99"/>
                <a:gd name="T11" fmla="*/ 54 h 61"/>
                <a:gd name="T12" fmla="*/ 564 w 99"/>
                <a:gd name="T13" fmla="*/ 60 h 61"/>
                <a:gd name="T14" fmla="*/ 564 w 99"/>
                <a:gd name="T15" fmla="*/ 65 h 61"/>
                <a:gd name="T16" fmla="*/ 512 w 99"/>
                <a:gd name="T17" fmla="*/ 67 h 61"/>
                <a:gd name="T18" fmla="*/ 512 w 99"/>
                <a:gd name="T19" fmla="*/ 69 h 61"/>
                <a:gd name="T20" fmla="*/ 468 w 99"/>
                <a:gd name="T21" fmla="*/ 69 h 61"/>
                <a:gd name="T22" fmla="*/ 386 w 99"/>
                <a:gd name="T23" fmla="*/ 69 h 61"/>
                <a:gd name="T24" fmla="*/ 358 w 99"/>
                <a:gd name="T25" fmla="*/ 71 h 61"/>
                <a:gd name="T26" fmla="*/ 283 w 99"/>
                <a:gd name="T27" fmla="*/ 71 h 61"/>
                <a:gd name="T28" fmla="*/ 243 w 99"/>
                <a:gd name="T29" fmla="*/ 75 h 61"/>
                <a:gd name="T30" fmla="*/ 237 w 99"/>
                <a:gd name="T31" fmla="*/ 80 h 61"/>
                <a:gd name="T32" fmla="*/ 144 w 99"/>
                <a:gd name="T33" fmla="*/ 75 h 61"/>
                <a:gd name="T34" fmla="*/ 67 w 99"/>
                <a:gd name="T35" fmla="*/ 69 h 61"/>
                <a:gd name="T36" fmla="*/ 41 w 99"/>
                <a:gd name="T37" fmla="*/ 69 h 61"/>
                <a:gd name="T38" fmla="*/ 41 w 99"/>
                <a:gd name="T39" fmla="*/ 65 h 61"/>
                <a:gd name="T40" fmla="*/ 4 w 99"/>
                <a:gd name="T41" fmla="*/ 60 h 61"/>
                <a:gd name="T42" fmla="*/ 4 w 99"/>
                <a:gd name="T43" fmla="*/ 54 h 61"/>
                <a:gd name="T44" fmla="*/ 4 w 99"/>
                <a:gd name="T45" fmla="*/ 22 h 61"/>
                <a:gd name="T46" fmla="*/ 0 w 99"/>
                <a:gd name="T47" fmla="*/ 20 h 61"/>
                <a:gd name="T48" fmla="*/ 4 w 99"/>
                <a:gd name="T49" fmla="*/ 20 h 61"/>
                <a:gd name="T50" fmla="*/ 67 w 99"/>
                <a:gd name="T51" fmla="*/ 20 h 61"/>
                <a:gd name="T52" fmla="*/ 98 w 99"/>
                <a:gd name="T53" fmla="*/ 15 h 61"/>
                <a:gd name="T54" fmla="*/ 98 w 99"/>
                <a:gd name="T55" fmla="*/ 11 h 61"/>
                <a:gd name="T56" fmla="*/ 108 w 99"/>
                <a:gd name="T57" fmla="*/ 15 h 61"/>
                <a:gd name="T58" fmla="*/ 197 w 99"/>
                <a:gd name="T59" fmla="*/ 20 h 61"/>
                <a:gd name="T60" fmla="*/ 283 w 99"/>
                <a:gd name="T61" fmla="*/ 11 h 61"/>
                <a:gd name="T62" fmla="*/ 358 w 99"/>
                <a:gd name="T63" fmla="*/ 7 h 61"/>
                <a:gd name="T64" fmla="*/ 386 w 99"/>
                <a:gd name="T65" fmla="*/ 7 h 61"/>
                <a:gd name="T66" fmla="*/ 468 w 99"/>
                <a:gd name="T67" fmla="*/ 0 h 61"/>
                <a:gd name="T68" fmla="*/ 505 w 99"/>
                <a:gd name="T69" fmla="*/ 0 h 61"/>
                <a:gd name="T70" fmla="*/ 564 w 99"/>
                <a:gd name="T71" fmla="*/ 0 h 61"/>
                <a:gd name="T72" fmla="*/ 571 w 99"/>
                <a:gd name="T73" fmla="*/ 5 h 61"/>
                <a:gd name="T74" fmla="*/ 637 w 99"/>
                <a:gd name="T75" fmla="*/ 5 h 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9"/>
                <a:gd name="T115" fmla="*/ 0 h 61"/>
                <a:gd name="T116" fmla="*/ 99 w 99"/>
                <a:gd name="T117" fmla="*/ 61 h 6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9" h="61">
                  <a:moveTo>
                    <a:pt x="88" y="5"/>
                  </a:moveTo>
                  <a:lnTo>
                    <a:pt x="99" y="11"/>
                  </a:lnTo>
                  <a:lnTo>
                    <a:pt x="95" y="11"/>
                  </a:lnTo>
                  <a:lnTo>
                    <a:pt x="88" y="15"/>
                  </a:lnTo>
                  <a:lnTo>
                    <a:pt x="84" y="22"/>
                  </a:lnTo>
                  <a:lnTo>
                    <a:pt x="80" y="35"/>
                  </a:lnTo>
                  <a:lnTo>
                    <a:pt x="78" y="41"/>
                  </a:lnTo>
                  <a:lnTo>
                    <a:pt x="78" y="46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5" y="50"/>
                  </a:lnTo>
                  <a:lnTo>
                    <a:pt x="54" y="50"/>
                  </a:lnTo>
                  <a:lnTo>
                    <a:pt x="50" y="52"/>
                  </a:lnTo>
                  <a:lnTo>
                    <a:pt x="39" y="52"/>
                  </a:lnTo>
                  <a:lnTo>
                    <a:pt x="34" y="56"/>
                  </a:lnTo>
                  <a:lnTo>
                    <a:pt x="32" y="61"/>
                  </a:lnTo>
                  <a:lnTo>
                    <a:pt x="19" y="56"/>
                  </a:lnTo>
                  <a:lnTo>
                    <a:pt x="9" y="50"/>
                  </a:lnTo>
                  <a:lnTo>
                    <a:pt x="6" y="50"/>
                  </a:lnTo>
                  <a:lnTo>
                    <a:pt x="6" y="46"/>
                  </a:lnTo>
                  <a:lnTo>
                    <a:pt x="4" y="41"/>
                  </a:lnTo>
                  <a:lnTo>
                    <a:pt x="4" y="35"/>
                  </a:lnTo>
                  <a:lnTo>
                    <a:pt x="4" y="22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9" y="20"/>
                  </a:lnTo>
                  <a:lnTo>
                    <a:pt x="13" y="15"/>
                  </a:lnTo>
                  <a:lnTo>
                    <a:pt x="13" y="11"/>
                  </a:lnTo>
                  <a:lnTo>
                    <a:pt x="15" y="15"/>
                  </a:lnTo>
                  <a:lnTo>
                    <a:pt x="28" y="20"/>
                  </a:lnTo>
                  <a:lnTo>
                    <a:pt x="39" y="11"/>
                  </a:lnTo>
                  <a:lnTo>
                    <a:pt x="50" y="7"/>
                  </a:lnTo>
                  <a:lnTo>
                    <a:pt x="54" y="7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8" y="0"/>
                  </a:lnTo>
                  <a:lnTo>
                    <a:pt x="80" y="5"/>
                  </a:lnTo>
                  <a:lnTo>
                    <a:pt x="88" y="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7" name="Freeform 50"/>
            <p:cNvSpPr>
              <a:spLocks noChangeAspect="1"/>
            </p:cNvSpPr>
            <p:nvPr/>
          </p:nvSpPr>
          <p:spPr bwMode="auto">
            <a:xfrm>
              <a:off x="3166" y="2065"/>
              <a:ext cx="38" cy="22"/>
            </a:xfrm>
            <a:custGeom>
              <a:avLst/>
              <a:gdLst>
                <a:gd name="T0" fmla="*/ 135 w 34"/>
                <a:gd name="T1" fmla="*/ 22 h 22"/>
                <a:gd name="T2" fmla="*/ 4 w 34"/>
                <a:gd name="T3" fmla="*/ 20 h 22"/>
                <a:gd name="T4" fmla="*/ 0 w 34"/>
                <a:gd name="T5" fmla="*/ 11 h 22"/>
                <a:gd name="T6" fmla="*/ 4 w 34"/>
                <a:gd name="T7" fmla="*/ 11 h 22"/>
                <a:gd name="T8" fmla="*/ 70 w 34"/>
                <a:gd name="T9" fmla="*/ 11 h 22"/>
                <a:gd name="T10" fmla="*/ 97 w 34"/>
                <a:gd name="T11" fmla="*/ 11 h 22"/>
                <a:gd name="T12" fmla="*/ 135 w 34"/>
                <a:gd name="T13" fmla="*/ 7 h 22"/>
                <a:gd name="T14" fmla="*/ 211 w 34"/>
                <a:gd name="T15" fmla="*/ 7 h 22"/>
                <a:gd name="T16" fmla="*/ 369 w 34"/>
                <a:gd name="T17" fmla="*/ 0 h 22"/>
                <a:gd name="T18" fmla="*/ 301 w 34"/>
                <a:gd name="T19" fmla="*/ 11 h 22"/>
                <a:gd name="T20" fmla="*/ 301 w 34"/>
                <a:gd name="T21" fmla="*/ 11 h 22"/>
                <a:gd name="T22" fmla="*/ 257 w 34"/>
                <a:gd name="T23" fmla="*/ 11 h 22"/>
                <a:gd name="T24" fmla="*/ 211 w 34"/>
                <a:gd name="T25" fmla="*/ 20 h 22"/>
                <a:gd name="T26" fmla="*/ 135 w 34"/>
                <a:gd name="T27" fmla="*/ 20 h 22"/>
                <a:gd name="T28" fmla="*/ 135 w 34"/>
                <a:gd name="T29" fmla="*/ 22 h 2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22"/>
                <a:gd name="T47" fmla="*/ 34 w 34"/>
                <a:gd name="T48" fmla="*/ 22 h 2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22">
                  <a:moveTo>
                    <a:pt x="13" y="22"/>
                  </a:moveTo>
                  <a:lnTo>
                    <a:pt x="4" y="20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13" y="7"/>
                  </a:lnTo>
                  <a:lnTo>
                    <a:pt x="19" y="7"/>
                  </a:lnTo>
                  <a:lnTo>
                    <a:pt x="34" y="0"/>
                  </a:lnTo>
                  <a:lnTo>
                    <a:pt x="28" y="11"/>
                  </a:lnTo>
                  <a:lnTo>
                    <a:pt x="24" y="11"/>
                  </a:lnTo>
                  <a:lnTo>
                    <a:pt x="19" y="20"/>
                  </a:lnTo>
                  <a:lnTo>
                    <a:pt x="13" y="20"/>
                  </a:lnTo>
                  <a:lnTo>
                    <a:pt x="13" y="22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8" name="Freeform 51"/>
            <p:cNvSpPr>
              <a:spLocks noChangeAspect="1"/>
            </p:cNvSpPr>
            <p:nvPr/>
          </p:nvSpPr>
          <p:spPr bwMode="auto">
            <a:xfrm>
              <a:off x="2952" y="1944"/>
              <a:ext cx="113" cy="105"/>
            </a:xfrm>
            <a:custGeom>
              <a:avLst/>
              <a:gdLst>
                <a:gd name="T0" fmla="*/ 507 w 103"/>
                <a:gd name="T1" fmla="*/ 7 h 104"/>
                <a:gd name="T2" fmla="*/ 570 w 103"/>
                <a:gd name="T3" fmla="*/ 9 h 104"/>
                <a:gd name="T4" fmla="*/ 678 w 103"/>
                <a:gd name="T5" fmla="*/ 9 h 104"/>
                <a:gd name="T6" fmla="*/ 710 w 103"/>
                <a:gd name="T7" fmla="*/ 0 h 104"/>
                <a:gd name="T8" fmla="*/ 765 w 103"/>
                <a:gd name="T9" fmla="*/ 9 h 104"/>
                <a:gd name="T10" fmla="*/ 732 w 103"/>
                <a:gd name="T11" fmla="*/ 20 h 104"/>
                <a:gd name="T12" fmla="*/ 678 w 103"/>
                <a:gd name="T13" fmla="*/ 24 h 104"/>
                <a:gd name="T14" fmla="*/ 570 w 103"/>
                <a:gd name="T15" fmla="*/ 20 h 104"/>
                <a:gd name="T16" fmla="*/ 507 w 103"/>
                <a:gd name="T17" fmla="*/ 20 h 104"/>
                <a:gd name="T18" fmla="*/ 457 w 103"/>
                <a:gd name="T19" fmla="*/ 22 h 104"/>
                <a:gd name="T20" fmla="*/ 457 w 103"/>
                <a:gd name="T21" fmla="*/ 33 h 104"/>
                <a:gd name="T22" fmla="*/ 407 w 103"/>
                <a:gd name="T23" fmla="*/ 31 h 104"/>
                <a:gd name="T24" fmla="*/ 448 w 103"/>
                <a:gd name="T25" fmla="*/ 37 h 104"/>
                <a:gd name="T26" fmla="*/ 282 w 103"/>
                <a:gd name="T27" fmla="*/ 28 h 104"/>
                <a:gd name="T28" fmla="*/ 315 w 103"/>
                <a:gd name="T29" fmla="*/ 24 h 104"/>
                <a:gd name="T30" fmla="*/ 282 w 103"/>
                <a:gd name="T31" fmla="*/ 37 h 104"/>
                <a:gd name="T32" fmla="*/ 315 w 103"/>
                <a:gd name="T33" fmla="*/ 79 h 104"/>
                <a:gd name="T34" fmla="*/ 346 w 103"/>
                <a:gd name="T35" fmla="*/ 81 h 104"/>
                <a:gd name="T36" fmla="*/ 457 w 103"/>
                <a:gd name="T37" fmla="*/ 102 h 104"/>
                <a:gd name="T38" fmla="*/ 346 w 103"/>
                <a:gd name="T39" fmla="*/ 100 h 104"/>
                <a:gd name="T40" fmla="*/ 371 w 103"/>
                <a:gd name="T41" fmla="*/ 109 h 104"/>
                <a:gd name="T42" fmla="*/ 371 w 103"/>
                <a:gd name="T43" fmla="*/ 117 h 104"/>
                <a:gd name="T44" fmla="*/ 371 w 103"/>
                <a:gd name="T45" fmla="*/ 124 h 104"/>
                <a:gd name="T46" fmla="*/ 282 w 103"/>
                <a:gd name="T47" fmla="*/ 120 h 104"/>
                <a:gd name="T48" fmla="*/ 282 w 103"/>
                <a:gd name="T49" fmla="*/ 124 h 104"/>
                <a:gd name="T50" fmla="*/ 199 w 103"/>
                <a:gd name="T51" fmla="*/ 113 h 104"/>
                <a:gd name="T52" fmla="*/ 199 w 103"/>
                <a:gd name="T53" fmla="*/ 117 h 104"/>
                <a:gd name="T54" fmla="*/ 176 w 103"/>
                <a:gd name="T55" fmla="*/ 105 h 104"/>
                <a:gd name="T56" fmla="*/ 160 w 103"/>
                <a:gd name="T57" fmla="*/ 94 h 104"/>
                <a:gd name="T58" fmla="*/ 315 w 103"/>
                <a:gd name="T59" fmla="*/ 96 h 104"/>
                <a:gd name="T60" fmla="*/ 282 w 103"/>
                <a:gd name="T61" fmla="*/ 87 h 104"/>
                <a:gd name="T62" fmla="*/ 110 w 103"/>
                <a:gd name="T63" fmla="*/ 89 h 104"/>
                <a:gd name="T64" fmla="*/ 110 w 103"/>
                <a:gd name="T65" fmla="*/ 79 h 104"/>
                <a:gd name="T66" fmla="*/ 60 w 103"/>
                <a:gd name="T67" fmla="*/ 74 h 104"/>
                <a:gd name="T68" fmla="*/ 42 w 103"/>
                <a:gd name="T69" fmla="*/ 39 h 104"/>
                <a:gd name="T70" fmla="*/ 137 w 103"/>
                <a:gd name="T71" fmla="*/ 20 h 104"/>
                <a:gd name="T72" fmla="*/ 215 w 103"/>
                <a:gd name="T73" fmla="*/ 11 h 104"/>
                <a:gd name="T74" fmla="*/ 315 w 103"/>
                <a:gd name="T75" fmla="*/ 9 h 10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3"/>
                <a:gd name="T115" fmla="*/ 0 h 104"/>
                <a:gd name="T116" fmla="*/ 103 w 103"/>
                <a:gd name="T117" fmla="*/ 104 h 10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3" h="104">
                  <a:moveTo>
                    <a:pt x="43" y="9"/>
                  </a:moveTo>
                  <a:lnTo>
                    <a:pt x="69" y="7"/>
                  </a:lnTo>
                  <a:lnTo>
                    <a:pt x="71" y="9"/>
                  </a:lnTo>
                  <a:lnTo>
                    <a:pt x="77" y="9"/>
                  </a:lnTo>
                  <a:lnTo>
                    <a:pt x="84" y="11"/>
                  </a:lnTo>
                  <a:lnTo>
                    <a:pt x="92" y="9"/>
                  </a:lnTo>
                  <a:lnTo>
                    <a:pt x="92" y="0"/>
                  </a:lnTo>
                  <a:lnTo>
                    <a:pt x="95" y="0"/>
                  </a:lnTo>
                  <a:lnTo>
                    <a:pt x="103" y="7"/>
                  </a:lnTo>
                  <a:lnTo>
                    <a:pt x="103" y="9"/>
                  </a:lnTo>
                  <a:lnTo>
                    <a:pt x="99" y="11"/>
                  </a:lnTo>
                  <a:lnTo>
                    <a:pt x="99" y="20"/>
                  </a:lnTo>
                  <a:lnTo>
                    <a:pt x="92" y="22"/>
                  </a:lnTo>
                  <a:lnTo>
                    <a:pt x="92" y="24"/>
                  </a:lnTo>
                  <a:lnTo>
                    <a:pt x="90" y="22"/>
                  </a:lnTo>
                  <a:lnTo>
                    <a:pt x="77" y="20"/>
                  </a:lnTo>
                  <a:lnTo>
                    <a:pt x="75" y="15"/>
                  </a:lnTo>
                  <a:lnTo>
                    <a:pt x="69" y="20"/>
                  </a:lnTo>
                  <a:lnTo>
                    <a:pt x="64" y="20"/>
                  </a:lnTo>
                  <a:lnTo>
                    <a:pt x="62" y="22"/>
                  </a:lnTo>
                  <a:lnTo>
                    <a:pt x="54" y="24"/>
                  </a:lnTo>
                  <a:lnTo>
                    <a:pt x="62" y="33"/>
                  </a:lnTo>
                  <a:lnTo>
                    <a:pt x="60" y="31"/>
                  </a:lnTo>
                  <a:lnTo>
                    <a:pt x="54" y="31"/>
                  </a:lnTo>
                  <a:lnTo>
                    <a:pt x="60" y="33"/>
                  </a:lnTo>
                  <a:lnTo>
                    <a:pt x="60" y="37"/>
                  </a:lnTo>
                  <a:lnTo>
                    <a:pt x="49" y="33"/>
                  </a:lnTo>
                  <a:lnTo>
                    <a:pt x="38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38" y="28"/>
                  </a:lnTo>
                  <a:lnTo>
                    <a:pt x="38" y="37"/>
                  </a:lnTo>
                  <a:lnTo>
                    <a:pt x="49" y="50"/>
                  </a:lnTo>
                  <a:lnTo>
                    <a:pt x="43" y="59"/>
                  </a:lnTo>
                  <a:lnTo>
                    <a:pt x="38" y="59"/>
                  </a:lnTo>
                  <a:lnTo>
                    <a:pt x="47" y="61"/>
                  </a:lnTo>
                  <a:lnTo>
                    <a:pt x="60" y="69"/>
                  </a:lnTo>
                  <a:lnTo>
                    <a:pt x="62" y="82"/>
                  </a:lnTo>
                  <a:lnTo>
                    <a:pt x="54" y="76"/>
                  </a:lnTo>
                  <a:lnTo>
                    <a:pt x="47" y="80"/>
                  </a:lnTo>
                  <a:lnTo>
                    <a:pt x="54" y="89"/>
                  </a:lnTo>
                  <a:lnTo>
                    <a:pt x="49" y="89"/>
                  </a:lnTo>
                  <a:lnTo>
                    <a:pt x="38" y="82"/>
                  </a:lnTo>
                  <a:lnTo>
                    <a:pt x="49" y="97"/>
                  </a:lnTo>
                  <a:lnTo>
                    <a:pt x="49" y="100"/>
                  </a:lnTo>
                  <a:lnTo>
                    <a:pt x="49" y="104"/>
                  </a:lnTo>
                  <a:lnTo>
                    <a:pt x="38" y="97"/>
                  </a:lnTo>
                  <a:lnTo>
                    <a:pt x="38" y="100"/>
                  </a:lnTo>
                  <a:lnTo>
                    <a:pt x="38" y="104"/>
                  </a:lnTo>
                  <a:lnTo>
                    <a:pt x="34" y="93"/>
                  </a:lnTo>
                  <a:lnTo>
                    <a:pt x="28" y="93"/>
                  </a:lnTo>
                  <a:lnTo>
                    <a:pt x="30" y="100"/>
                  </a:lnTo>
                  <a:lnTo>
                    <a:pt x="28" y="97"/>
                  </a:lnTo>
                  <a:lnTo>
                    <a:pt x="23" y="91"/>
                  </a:lnTo>
                  <a:lnTo>
                    <a:pt x="23" y="85"/>
                  </a:lnTo>
                  <a:lnTo>
                    <a:pt x="15" y="80"/>
                  </a:lnTo>
                  <a:lnTo>
                    <a:pt x="21" y="74"/>
                  </a:lnTo>
                  <a:lnTo>
                    <a:pt x="30" y="69"/>
                  </a:lnTo>
                  <a:lnTo>
                    <a:pt x="43" y="76"/>
                  </a:lnTo>
                  <a:lnTo>
                    <a:pt x="47" y="74"/>
                  </a:lnTo>
                  <a:lnTo>
                    <a:pt x="38" y="67"/>
                  </a:lnTo>
                  <a:lnTo>
                    <a:pt x="30" y="67"/>
                  </a:lnTo>
                  <a:lnTo>
                    <a:pt x="15" y="69"/>
                  </a:lnTo>
                  <a:lnTo>
                    <a:pt x="8" y="59"/>
                  </a:lnTo>
                  <a:lnTo>
                    <a:pt x="15" y="59"/>
                  </a:lnTo>
                  <a:lnTo>
                    <a:pt x="15" y="54"/>
                  </a:lnTo>
                  <a:lnTo>
                    <a:pt x="8" y="54"/>
                  </a:lnTo>
                  <a:lnTo>
                    <a:pt x="0" y="46"/>
                  </a:lnTo>
                  <a:lnTo>
                    <a:pt x="6" y="39"/>
                  </a:lnTo>
                  <a:lnTo>
                    <a:pt x="13" y="24"/>
                  </a:lnTo>
                  <a:lnTo>
                    <a:pt x="19" y="20"/>
                  </a:lnTo>
                  <a:lnTo>
                    <a:pt x="28" y="20"/>
                  </a:lnTo>
                  <a:lnTo>
                    <a:pt x="30" y="11"/>
                  </a:lnTo>
                  <a:lnTo>
                    <a:pt x="38" y="15"/>
                  </a:lnTo>
                  <a:lnTo>
                    <a:pt x="43" y="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59" name="Freeform 52"/>
            <p:cNvSpPr>
              <a:spLocks noChangeAspect="1"/>
            </p:cNvSpPr>
            <p:nvPr/>
          </p:nvSpPr>
          <p:spPr bwMode="auto">
            <a:xfrm>
              <a:off x="3013" y="2065"/>
              <a:ext cx="48" cy="11"/>
            </a:xfrm>
            <a:custGeom>
              <a:avLst/>
              <a:gdLst>
                <a:gd name="T0" fmla="*/ 228 w 43"/>
                <a:gd name="T1" fmla="*/ 11 h 11"/>
                <a:gd name="T2" fmla="*/ 211 w 43"/>
                <a:gd name="T3" fmla="*/ 9 h 11"/>
                <a:gd name="T4" fmla="*/ 70 w 43"/>
                <a:gd name="T5" fmla="*/ 9 h 11"/>
                <a:gd name="T6" fmla="*/ 0 w 43"/>
                <a:gd name="T7" fmla="*/ 9 h 11"/>
                <a:gd name="T8" fmla="*/ 0 w 43"/>
                <a:gd name="T9" fmla="*/ 4 h 11"/>
                <a:gd name="T10" fmla="*/ 70 w 43"/>
                <a:gd name="T11" fmla="*/ 4 h 11"/>
                <a:gd name="T12" fmla="*/ 87 w 43"/>
                <a:gd name="T13" fmla="*/ 0 h 11"/>
                <a:gd name="T14" fmla="*/ 135 w 43"/>
                <a:gd name="T15" fmla="*/ 4 h 11"/>
                <a:gd name="T16" fmla="*/ 228 w 43"/>
                <a:gd name="T17" fmla="*/ 4 h 11"/>
                <a:gd name="T18" fmla="*/ 237 w 43"/>
                <a:gd name="T19" fmla="*/ 4 h 11"/>
                <a:gd name="T20" fmla="*/ 336 w 43"/>
                <a:gd name="T21" fmla="*/ 4 h 11"/>
                <a:gd name="T22" fmla="*/ 393 w 43"/>
                <a:gd name="T23" fmla="*/ 9 h 11"/>
                <a:gd name="T24" fmla="*/ 459 w 43"/>
                <a:gd name="T25" fmla="*/ 9 h 11"/>
                <a:gd name="T26" fmla="*/ 459 w 43"/>
                <a:gd name="T27" fmla="*/ 11 h 11"/>
                <a:gd name="T28" fmla="*/ 228 w 43"/>
                <a:gd name="T29" fmla="*/ 11 h 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11"/>
                <a:gd name="T47" fmla="*/ 43 w 43"/>
                <a:gd name="T48" fmla="*/ 11 h 1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11">
                  <a:moveTo>
                    <a:pt x="21" y="11"/>
                  </a:moveTo>
                  <a:lnTo>
                    <a:pt x="19" y="9"/>
                  </a:lnTo>
                  <a:lnTo>
                    <a:pt x="6" y="9"/>
                  </a:lnTo>
                  <a:lnTo>
                    <a:pt x="0" y="9"/>
                  </a:lnTo>
                  <a:lnTo>
                    <a:pt x="0" y="4"/>
                  </a:lnTo>
                  <a:lnTo>
                    <a:pt x="6" y="4"/>
                  </a:lnTo>
                  <a:lnTo>
                    <a:pt x="8" y="0"/>
                  </a:lnTo>
                  <a:lnTo>
                    <a:pt x="13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32" y="4"/>
                  </a:lnTo>
                  <a:lnTo>
                    <a:pt x="36" y="9"/>
                  </a:lnTo>
                  <a:lnTo>
                    <a:pt x="43" y="9"/>
                  </a:lnTo>
                  <a:lnTo>
                    <a:pt x="43" y="11"/>
                  </a:lnTo>
                  <a:lnTo>
                    <a:pt x="21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0" name="Freeform 53"/>
            <p:cNvSpPr>
              <a:spLocks noChangeAspect="1"/>
            </p:cNvSpPr>
            <p:nvPr/>
          </p:nvSpPr>
          <p:spPr bwMode="auto">
            <a:xfrm>
              <a:off x="3004" y="1999"/>
              <a:ext cx="24" cy="22"/>
            </a:xfrm>
            <a:custGeom>
              <a:avLst/>
              <a:gdLst>
                <a:gd name="T0" fmla="*/ 69 w 22"/>
                <a:gd name="T1" fmla="*/ 15 h 22"/>
                <a:gd name="T2" fmla="*/ 41 w 22"/>
                <a:gd name="T3" fmla="*/ 9 h 22"/>
                <a:gd name="T4" fmla="*/ 0 w 22"/>
                <a:gd name="T5" fmla="*/ 5 h 22"/>
                <a:gd name="T6" fmla="*/ 2 w 22"/>
                <a:gd name="T7" fmla="*/ 0 h 22"/>
                <a:gd name="T8" fmla="*/ 41 w 22"/>
                <a:gd name="T9" fmla="*/ 7 h 22"/>
                <a:gd name="T10" fmla="*/ 97 w 22"/>
                <a:gd name="T11" fmla="*/ 7 h 22"/>
                <a:gd name="T12" fmla="*/ 106 w 22"/>
                <a:gd name="T13" fmla="*/ 15 h 22"/>
                <a:gd name="T14" fmla="*/ 136 w 22"/>
                <a:gd name="T15" fmla="*/ 20 h 22"/>
                <a:gd name="T16" fmla="*/ 136 w 22"/>
                <a:gd name="T17" fmla="*/ 22 h 22"/>
                <a:gd name="T18" fmla="*/ 106 w 22"/>
                <a:gd name="T19" fmla="*/ 22 h 22"/>
                <a:gd name="T20" fmla="*/ 69 w 22"/>
                <a:gd name="T21" fmla="*/ 15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2"/>
                <a:gd name="T34" fmla="*/ 0 h 22"/>
                <a:gd name="T35" fmla="*/ 22 w 22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2" h="22">
                  <a:moveTo>
                    <a:pt x="11" y="15"/>
                  </a:moveTo>
                  <a:lnTo>
                    <a:pt x="7" y="9"/>
                  </a:lnTo>
                  <a:lnTo>
                    <a:pt x="0" y="5"/>
                  </a:lnTo>
                  <a:lnTo>
                    <a:pt x="2" y="0"/>
                  </a:lnTo>
                  <a:lnTo>
                    <a:pt x="7" y="7"/>
                  </a:lnTo>
                  <a:lnTo>
                    <a:pt x="15" y="7"/>
                  </a:lnTo>
                  <a:lnTo>
                    <a:pt x="17" y="15"/>
                  </a:lnTo>
                  <a:lnTo>
                    <a:pt x="22" y="20"/>
                  </a:lnTo>
                  <a:lnTo>
                    <a:pt x="22" y="22"/>
                  </a:lnTo>
                  <a:lnTo>
                    <a:pt x="17" y="22"/>
                  </a:lnTo>
                  <a:lnTo>
                    <a:pt x="11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1" name="Freeform 54"/>
            <p:cNvSpPr>
              <a:spLocks noChangeAspect="1"/>
            </p:cNvSpPr>
            <p:nvPr/>
          </p:nvSpPr>
          <p:spPr bwMode="auto">
            <a:xfrm>
              <a:off x="3049" y="1992"/>
              <a:ext cx="12" cy="7"/>
            </a:xfrm>
            <a:custGeom>
              <a:avLst/>
              <a:gdLst>
                <a:gd name="T0" fmla="*/ 69 w 11"/>
                <a:gd name="T1" fmla="*/ 122 h 6"/>
                <a:gd name="T2" fmla="*/ 4 w 11"/>
                <a:gd name="T3" fmla="*/ 122 h 6"/>
                <a:gd name="T4" fmla="*/ 4 w 11"/>
                <a:gd name="T5" fmla="*/ 2 h 6"/>
                <a:gd name="T6" fmla="*/ 2 w 11"/>
                <a:gd name="T7" fmla="*/ 122 h 6"/>
                <a:gd name="T8" fmla="*/ 0 w 11"/>
                <a:gd name="T9" fmla="*/ 2 h 6"/>
                <a:gd name="T10" fmla="*/ 49 w 11"/>
                <a:gd name="T11" fmla="*/ 0 h 6"/>
                <a:gd name="T12" fmla="*/ 69 w 11"/>
                <a:gd name="T13" fmla="*/ 2 h 6"/>
                <a:gd name="T14" fmla="*/ 69 w 11"/>
                <a:gd name="T15" fmla="*/ 122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6"/>
                <a:gd name="T26" fmla="*/ 11 w 11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6">
                  <a:moveTo>
                    <a:pt x="11" y="6"/>
                  </a:moveTo>
                  <a:lnTo>
                    <a:pt x="4" y="6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2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2" name="Freeform 55"/>
            <p:cNvSpPr>
              <a:spLocks noChangeAspect="1"/>
            </p:cNvSpPr>
            <p:nvPr/>
          </p:nvSpPr>
          <p:spPr bwMode="auto">
            <a:xfrm>
              <a:off x="3090" y="2053"/>
              <a:ext cx="4" cy="10"/>
            </a:xfrm>
            <a:custGeom>
              <a:avLst/>
              <a:gdLst>
                <a:gd name="T0" fmla="*/ 0 w 4"/>
                <a:gd name="T1" fmla="*/ 70 h 9"/>
                <a:gd name="T2" fmla="*/ 0 w 4"/>
                <a:gd name="T3" fmla="*/ 2 h 9"/>
                <a:gd name="T4" fmla="*/ 4 w 4"/>
                <a:gd name="T5" fmla="*/ 0 h 9"/>
                <a:gd name="T6" fmla="*/ 2 w 4"/>
                <a:gd name="T7" fmla="*/ 57 h 9"/>
                <a:gd name="T8" fmla="*/ 0 w 4"/>
                <a:gd name="T9" fmla="*/ 7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0" y="9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2" y="7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3" name="Freeform 56"/>
            <p:cNvSpPr>
              <a:spLocks noChangeAspect="1"/>
            </p:cNvSpPr>
            <p:nvPr/>
          </p:nvSpPr>
          <p:spPr bwMode="auto">
            <a:xfrm>
              <a:off x="3049" y="2008"/>
              <a:ext cx="8" cy="6"/>
            </a:xfrm>
            <a:custGeom>
              <a:avLst/>
              <a:gdLst>
                <a:gd name="T0" fmla="*/ 125 w 7"/>
                <a:gd name="T1" fmla="*/ 6 h 6"/>
                <a:gd name="T2" fmla="*/ 0 w 7"/>
                <a:gd name="T3" fmla="*/ 6 h 6"/>
                <a:gd name="T4" fmla="*/ 83 w 7"/>
                <a:gd name="T5" fmla="*/ 6 h 6"/>
                <a:gd name="T6" fmla="*/ 0 w 7"/>
                <a:gd name="T7" fmla="*/ 0 h 6"/>
                <a:gd name="T8" fmla="*/ 83 w 7"/>
                <a:gd name="T9" fmla="*/ 4 h 6"/>
                <a:gd name="T10" fmla="*/ 125 w 7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7" y="6"/>
                  </a:moveTo>
                  <a:lnTo>
                    <a:pt x="0" y="6"/>
                  </a:lnTo>
                  <a:lnTo>
                    <a:pt x="4" y="6"/>
                  </a:lnTo>
                  <a:lnTo>
                    <a:pt x="0" y="0"/>
                  </a:lnTo>
                  <a:lnTo>
                    <a:pt x="4" y="4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4" name="Freeform 57"/>
            <p:cNvSpPr>
              <a:spLocks noChangeAspect="1"/>
            </p:cNvSpPr>
            <p:nvPr/>
          </p:nvSpPr>
          <p:spPr bwMode="auto">
            <a:xfrm>
              <a:off x="2733" y="1907"/>
              <a:ext cx="4" cy="4"/>
            </a:xfrm>
            <a:custGeom>
              <a:avLst/>
              <a:gdLst>
                <a:gd name="T0" fmla="*/ 4 w 4"/>
                <a:gd name="T1" fmla="*/ 2 h 4"/>
                <a:gd name="T2" fmla="*/ 0 w 4"/>
                <a:gd name="T3" fmla="*/ 2 h 4"/>
                <a:gd name="T4" fmla="*/ 0 w 4"/>
                <a:gd name="T5" fmla="*/ 4 h 4"/>
                <a:gd name="T6" fmla="*/ 0 w 4"/>
                <a:gd name="T7" fmla="*/ 2 h 4"/>
                <a:gd name="T8" fmla="*/ 0 w 4"/>
                <a:gd name="T9" fmla="*/ 0 h 4"/>
                <a:gd name="T10" fmla="*/ 4 w 4"/>
                <a:gd name="T11" fmla="*/ 2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4"/>
                <a:gd name="T20" fmla="*/ 4 w 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4">
                  <a:moveTo>
                    <a:pt x="4" y="2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5" name="Freeform 58"/>
            <p:cNvSpPr>
              <a:spLocks noChangeAspect="1"/>
            </p:cNvSpPr>
            <p:nvPr/>
          </p:nvSpPr>
          <p:spPr bwMode="auto">
            <a:xfrm>
              <a:off x="2775" y="1841"/>
              <a:ext cx="11" cy="2"/>
            </a:xfrm>
            <a:custGeom>
              <a:avLst/>
              <a:gdLst>
                <a:gd name="T0" fmla="*/ 590 w 9"/>
                <a:gd name="T1" fmla="*/ 2 h 2"/>
                <a:gd name="T2" fmla="*/ 216 w 9"/>
                <a:gd name="T3" fmla="*/ 0 h 2"/>
                <a:gd name="T4" fmla="*/ 0 w 9"/>
                <a:gd name="T5" fmla="*/ 0 h 2"/>
                <a:gd name="T6" fmla="*/ 590 w 9"/>
                <a:gd name="T7" fmla="*/ 0 h 2"/>
                <a:gd name="T8" fmla="*/ 590 w 9"/>
                <a:gd name="T9" fmla="*/ 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9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6" name="Freeform 59"/>
            <p:cNvSpPr>
              <a:spLocks noChangeAspect="1"/>
            </p:cNvSpPr>
            <p:nvPr/>
          </p:nvSpPr>
          <p:spPr bwMode="auto">
            <a:xfrm>
              <a:off x="3351" y="1953"/>
              <a:ext cx="76" cy="46"/>
            </a:xfrm>
            <a:custGeom>
              <a:avLst/>
              <a:gdLst>
                <a:gd name="T0" fmla="*/ 250 w 69"/>
                <a:gd name="T1" fmla="*/ 61 h 45"/>
                <a:gd name="T2" fmla="*/ 164 w 69"/>
                <a:gd name="T3" fmla="*/ 46 h 45"/>
                <a:gd name="T4" fmla="*/ 41 w 69"/>
                <a:gd name="T5" fmla="*/ 22 h 45"/>
                <a:gd name="T6" fmla="*/ 41 w 69"/>
                <a:gd name="T7" fmla="*/ 9 h 45"/>
                <a:gd name="T8" fmla="*/ 0 w 69"/>
                <a:gd name="T9" fmla="*/ 0 h 45"/>
                <a:gd name="T10" fmla="*/ 446 w 69"/>
                <a:gd name="T11" fmla="*/ 2 h 45"/>
                <a:gd name="T12" fmla="*/ 458 w 69"/>
                <a:gd name="T13" fmla="*/ 19 h 45"/>
                <a:gd name="T14" fmla="*/ 563 w 69"/>
                <a:gd name="T15" fmla="*/ 22 h 45"/>
                <a:gd name="T16" fmla="*/ 496 w 69"/>
                <a:gd name="T17" fmla="*/ 46 h 45"/>
                <a:gd name="T18" fmla="*/ 541 w 69"/>
                <a:gd name="T19" fmla="*/ 61 h 45"/>
                <a:gd name="T20" fmla="*/ 446 w 69"/>
                <a:gd name="T21" fmla="*/ 65 h 45"/>
                <a:gd name="T22" fmla="*/ 250 w 69"/>
                <a:gd name="T23" fmla="*/ 61 h 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45"/>
                <a:gd name="T38" fmla="*/ 69 w 69"/>
                <a:gd name="T39" fmla="*/ 45 h 4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45">
                  <a:moveTo>
                    <a:pt x="30" y="41"/>
                  </a:moveTo>
                  <a:lnTo>
                    <a:pt x="20" y="26"/>
                  </a:lnTo>
                  <a:lnTo>
                    <a:pt x="5" y="22"/>
                  </a:lnTo>
                  <a:lnTo>
                    <a:pt x="5" y="9"/>
                  </a:lnTo>
                  <a:lnTo>
                    <a:pt x="0" y="0"/>
                  </a:lnTo>
                  <a:lnTo>
                    <a:pt x="54" y="2"/>
                  </a:lnTo>
                  <a:lnTo>
                    <a:pt x="56" y="19"/>
                  </a:lnTo>
                  <a:lnTo>
                    <a:pt x="69" y="22"/>
                  </a:lnTo>
                  <a:lnTo>
                    <a:pt x="61" y="26"/>
                  </a:lnTo>
                  <a:lnTo>
                    <a:pt x="65" y="41"/>
                  </a:lnTo>
                  <a:lnTo>
                    <a:pt x="54" y="45"/>
                  </a:lnTo>
                  <a:lnTo>
                    <a:pt x="30" y="41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7" name="Freeform 60"/>
            <p:cNvSpPr>
              <a:spLocks noChangeAspect="1"/>
            </p:cNvSpPr>
            <p:nvPr/>
          </p:nvSpPr>
          <p:spPr bwMode="auto">
            <a:xfrm>
              <a:off x="3410" y="1944"/>
              <a:ext cx="58" cy="62"/>
            </a:xfrm>
            <a:custGeom>
              <a:avLst/>
              <a:gdLst>
                <a:gd name="T0" fmla="*/ 255 w 52"/>
                <a:gd name="T1" fmla="*/ 0 h 61"/>
                <a:gd name="T2" fmla="*/ 395 w 52"/>
                <a:gd name="T3" fmla="*/ 15 h 61"/>
                <a:gd name="T4" fmla="*/ 549 w 52"/>
                <a:gd name="T5" fmla="*/ 22 h 61"/>
                <a:gd name="T6" fmla="*/ 395 w 52"/>
                <a:gd name="T7" fmla="*/ 28 h 61"/>
                <a:gd name="T8" fmla="*/ 395 w 52"/>
                <a:gd name="T9" fmla="*/ 59 h 61"/>
                <a:gd name="T10" fmla="*/ 395 w 52"/>
                <a:gd name="T11" fmla="*/ 66 h 61"/>
                <a:gd name="T12" fmla="*/ 352 w 52"/>
                <a:gd name="T13" fmla="*/ 64 h 61"/>
                <a:gd name="T14" fmla="*/ 284 w 52"/>
                <a:gd name="T15" fmla="*/ 66 h 61"/>
                <a:gd name="T16" fmla="*/ 352 w 52"/>
                <a:gd name="T17" fmla="*/ 81 h 61"/>
                <a:gd name="T18" fmla="*/ 119 w 52"/>
                <a:gd name="T19" fmla="*/ 70 h 61"/>
                <a:gd name="T20" fmla="*/ 96 w 52"/>
                <a:gd name="T21" fmla="*/ 57 h 61"/>
                <a:gd name="T22" fmla="*/ 164 w 52"/>
                <a:gd name="T23" fmla="*/ 51 h 61"/>
                <a:gd name="T24" fmla="*/ 2 w 52"/>
                <a:gd name="T25" fmla="*/ 28 h 61"/>
                <a:gd name="T26" fmla="*/ 0 w 52"/>
                <a:gd name="T27" fmla="*/ 11 h 61"/>
                <a:gd name="T28" fmla="*/ 0 w 52"/>
                <a:gd name="T29" fmla="*/ 5 h 61"/>
                <a:gd name="T30" fmla="*/ 255 w 52"/>
                <a:gd name="T31" fmla="*/ 0 h 6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61"/>
                <a:gd name="T50" fmla="*/ 52 w 52"/>
                <a:gd name="T51" fmla="*/ 61 h 6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61">
                  <a:moveTo>
                    <a:pt x="24" y="0"/>
                  </a:moveTo>
                  <a:lnTo>
                    <a:pt x="37" y="15"/>
                  </a:lnTo>
                  <a:lnTo>
                    <a:pt x="52" y="22"/>
                  </a:lnTo>
                  <a:lnTo>
                    <a:pt x="37" y="28"/>
                  </a:lnTo>
                  <a:lnTo>
                    <a:pt x="37" y="39"/>
                  </a:lnTo>
                  <a:lnTo>
                    <a:pt x="37" y="46"/>
                  </a:lnTo>
                  <a:lnTo>
                    <a:pt x="33" y="44"/>
                  </a:lnTo>
                  <a:lnTo>
                    <a:pt x="26" y="46"/>
                  </a:lnTo>
                  <a:lnTo>
                    <a:pt x="33" y="61"/>
                  </a:lnTo>
                  <a:lnTo>
                    <a:pt x="11" y="50"/>
                  </a:lnTo>
                  <a:lnTo>
                    <a:pt x="9" y="37"/>
                  </a:lnTo>
                  <a:lnTo>
                    <a:pt x="15" y="31"/>
                  </a:lnTo>
                  <a:lnTo>
                    <a:pt x="2" y="28"/>
                  </a:lnTo>
                  <a:lnTo>
                    <a:pt x="0" y="11"/>
                  </a:lnTo>
                  <a:lnTo>
                    <a:pt x="0" y="5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8" name="Freeform 61"/>
            <p:cNvSpPr>
              <a:spLocks noChangeAspect="1"/>
            </p:cNvSpPr>
            <p:nvPr/>
          </p:nvSpPr>
          <p:spPr bwMode="auto">
            <a:xfrm>
              <a:off x="2985" y="1634"/>
              <a:ext cx="159" cy="116"/>
            </a:xfrm>
            <a:custGeom>
              <a:avLst/>
              <a:gdLst>
                <a:gd name="T0" fmla="*/ 102 w 144"/>
                <a:gd name="T1" fmla="*/ 142 h 114"/>
                <a:gd name="T2" fmla="*/ 62 w 144"/>
                <a:gd name="T3" fmla="*/ 129 h 114"/>
                <a:gd name="T4" fmla="*/ 0 w 144"/>
                <a:gd name="T5" fmla="*/ 116 h 114"/>
                <a:gd name="T6" fmla="*/ 102 w 144"/>
                <a:gd name="T7" fmla="*/ 104 h 114"/>
                <a:gd name="T8" fmla="*/ 62 w 144"/>
                <a:gd name="T9" fmla="*/ 82 h 114"/>
                <a:gd name="T10" fmla="*/ 4 w 144"/>
                <a:gd name="T11" fmla="*/ 71 h 114"/>
                <a:gd name="T12" fmla="*/ 195 w 144"/>
                <a:gd name="T13" fmla="*/ 62 h 114"/>
                <a:gd name="T14" fmla="*/ 296 w 144"/>
                <a:gd name="T15" fmla="*/ 49 h 114"/>
                <a:gd name="T16" fmla="*/ 335 w 144"/>
                <a:gd name="T17" fmla="*/ 11 h 114"/>
                <a:gd name="T18" fmla="*/ 502 w 144"/>
                <a:gd name="T19" fmla="*/ 4 h 114"/>
                <a:gd name="T20" fmla="*/ 565 w 144"/>
                <a:gd name="T21" fmla="*/ 0 h 114"/>
                <a:gd name="T22" fmla="*/ 877 w 144"/>
                <a:gd name="T23" fmla="*/ 6 h 114"/>
                <a:gd name="T24" fmla="*/ 967 w 144"/>
                <a:gd name="T25" fmla="*/ 58 h 114"/>
                <a:gd name="T26" fmla="*/ 1069 w 144"/>
                <a:gd name="T27" fmla="*/ 71 h 114"/>
                <a:gd name="T28" fmla="*/ 1110 w 144"/>
                <a:gd name="T29" fmla="*/ 98 h 114"/>
                <a:gd name="T30" fmla="*/ 1021 w 144"/>
                <a:gd name="T31" fmla="*/ 86 h 114"/>
                <a:gd name="T32" fmla="*/ 967 w 144"/>
                <a:gd name="T33" fmla="*/ 90 h 114"/>
                <a:gd name="T34" fmla="*/ 1032 w 144"/>
                <a:gd name="T35" fmla="*/ 126 h 114"/>
                <a:gd name="T36" fmla="*/ 1021 w 144"/>
                <a:gd name="T37" fmla="*/ 144 h 114"/>
                <a:gd name="T38" fmla="*/ 925 w 144"/>
                <a:gd name="T39" fmla="*/ 144 h 114"/>
                <a:gd name="T40" fmla="*/ 877 w 144"/>
                <a:gd name="T41" fmla="*/ 153 h 114"/>
                <a:gd name="T42" fmla="*/ 877 w 144"/>
                <a:gd name="T43" fmla="*/ 156 h 114"/>
                <a:gd name="T44" fmla="*/ 650 w 144"/>
                <a:gd name="T45" fmla="*/ 147 h 114"/>
                <a:gd name="T46" fmla="*/ 650 w 144"/>
                <a:gd name="T47" fmla="*/ 142 h 114"/>
                <a:gd name="T48" fmla="*/ 195 w 144"/>
                <a:gd name="T49" fmla="*/ 144 h 114"/>
                <a:gd name="T50" fmla="*/ 152 w 144"/>
                <a:gd name="T51" fmla="*/ 142 h 114"/>
                <a:gd name="T52" fmla="*/ 102 w 144"/>
                <a:gd name="T53" fmla="*/ 142 h 11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4"/>
                <a:gd name="T82" fmla="*/ 0 h 114"/>
                <a:gd name="T83" fmla="*/ 144 w 144"/>
                <a:gd name="T84" fmla="*/ 114 h 11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4" h="114">
                  <a:moveTo>
                    <a:pt x="13" y="104"/>
                  </a:moveTo>
                  <a:lnTo>
                    <a:pt x="8" y="91"/>
                  </a:lnTo>
                  <a:lnTo>
                    <a:pt x="0" y="82"/>
                  </a:lnTo>
                  <a:lnTo>
                    <a:pt x="13" y="76"/>
                  </a:lnTo>
                  <a:lnTo>
                    <a:pt x="8" y="63"/>
                  </a:lnTo>
                  <a:lnTo>
                    <a:pt x="4" y="52"/>
                  </a:lnTo>
                  <a:lnTo>
                    <a:pt x="26" y="43"/>
                  </a:lnTo>
                  <a:lnTo>
                    <a:pt x="39" y="30"/>
                  </a:lnTo>
                  <a:lnTo>
                    <a:pt x="43" y="11"/>
                  </a:lnTo>
                  <a:lnTo>
                    <a:pt x="65" y="4"/>
                  </a:lnTo>
                  <a:lnTo>
                    <a:pt x="73" y="0"/>
                  </a:lnTo>
                  <a:lnTo>
                    <a:pt x="114" y="6"/>
                  </a:lnTo>
                  <a:lnTo>
                    <a:pt x="125" y="39"/>
                  </a:lnTo>
                  <a:lnTo>
                    <a:pt x="138" y="52"/>
                  </a:lnTo>
                  <a:lnTo>
                    <a:pt x="144" y="73"/>
                  </a:lnTo>
                  <a:lnTo>
                    <a:pt x="132" y="67"/>
                  </a:lnTo>
                  <a:lnTo>
                    <a:pt x="125" y="69"/>
                  </a:lnTo>
                  <a:lnTo>
                    <a:pt x="134" y="88"/>
                  </a:lnTo>
                  <a:lnTo>
                    <a:pt x="132" y="106"/>
                  </a:lnTo>
                  <a:lnTo>
                    <a:pt x="119" y="106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26" y="106"/>
                  </a:lnTo>
                  <a:lnTo>
                    <a:pt x="19" y="104"/>
                  </a:lnTo>
                  <a:lnTo>
                    <a:pt x="13" y="10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69" name="Freeform 62"/>
            <p:cNvSpPr>
              <a:spLocks noChangeAspect="1"/>
            </p:cNvSpPr>
            <p:nvPr/>
          </p:nvSpPr>
          <p:spPr bwMode="auto">
            <a:xfrm>
              <a:off x="2973" y="1542"/>
              <a:ext cx="72" cy="51"/>
            </a:xfrm>
            <a:custGeom>
              <a:avLst/>
              <a:gdLst>
                <a:gd name="T0" fmla="*/ 119 w 65"/>
                <a:gd name="T1" fmla="*/ 65 h 50"/>
                <a:gd name="T2" fmla="*/ 119 w 65"/>
                <a:gd name="T3" fmla="*/ 54 h 50"/>
                <a:gd name="T4" fmla="*/ 92 w 65"/>
                <a:gd name="T5" fmla="*/ 58 h 50"/>
                <a:gd name="T6" fmla="*/ 4 w 65"/>
                <a:gd name="T7" fmla="*/ 24 h 50"/>
                <a:gd name="T8" fmla="*/ 0 w 65"/>
                <a:gd name="T9" fmla="*/ 13 h 50"/>
                <a:gd name="T10" fmla="*/ 298 w 65"/>
                <a:gd name="T11" fmla="*/ 0 h 50"/>
                <a:gd name="T12" fmla="*/ 449 w 65"/>
                <a:gd name="T13" fmla="*/ 5 h 50"/>
                <a:gd name="T14" fmla="*/ 419 w 65"/>
                <a:gd name="T15" fmla="*/ 7 h 50"/>
                <a:gd name="T16" fmla="*/ 449 w 65"/>
                <a:gd name="T17" fmla="*/ 20 h 50"/>
                <a:gd name="T18" fmla="*/ 449 w 65"/>
                <a:gd name="T19" fmla="*/ 47 h 50"/>
                <a:gd name="T20" fmla="*/ 537 w 65"/>
                <a:gd name="T21" fmla="*/ 62 h 50"/>
                <a:gd name="T22" fmla="*/ 419 w 65"/>
                <a:gd name="T23" fmla="*/ 69 h 50"/>
                <a:gd name="T24" fmla="*/ 243 w 65"/>
                <a:gd name="T25" fmla="*/ 65 h 50"/>
                <a:gd name="T26" fmla="*/ 119 w 65"/>
                <a:gd name="T27" fmla="*/ 65 h 5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5"/>
                <a:gd name="T43" fmla="*/ 0 h 50"/>
                <a:gd name="T44" fmla="*/ 65 w 65"/>
                <a:gd name="T45" fmla="*/ 50 h 5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5" h="50">
                  <a:moveTo>
                    <a:pt x="15" y="46"/>
                  </a:moveTo>
                  <a:lnTo>
                    <a:pt x="15" y="35"/>
                  </a:lnTo>
                  <a:lnTo>
                    <a:pt x="11" y="39"/>
                  </a:lnTo>
                  <a:lnTo>
                    <a:pt x="4" y="24"/>
                  </a:lnTo>
                  <a:lnTo>
                    <a:pt x="0" y="13"/>
                  </a:lnTo>
                  <a:lnTo>
                    <a:pt x="35" y="0"/>
                  </a:lnTo>
                  <a:lnTo>
                    <a:pt x="54" y="5"/>
                  </a:lnTo>
                  <a:lnTo>
                    <a:pt x="50" y="7"/>
                  </a:lnTo>
                  <a:lnTo>
                    <a:pt x="54" y="20"/>
                  </a:lnTo>
                  <a:lnTo>
                    <a:pt x="54" y="28"/>
                  </a:lnTo>
                  <a:lnTo>
                    <a:pt x="65" y="43"/>
                  </a:lnTo>
                  <a:lnTo>
                    <a:pt x="50" y="50"/>
                  </a:lnTo>
                  <a:lnTo>
                    <a:pt x="28" y="46"/>
                  </a:lnTo>
                  <a:lnTo>
                    <a:pt x="15" y="4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0" name="Freeform 63"/>
            <p:cNvSpPr>
              <a:spLocks noChangeAspect="1"/>
            </p:cNvSpPr>
            <p:nvPr/>
          </p:nvSpPr>
          <p:spPr bwMode="auto">
            <a:xfrm>
              <a:off x="3285" y="1909"/>
              <a:ext cx="125" cy="46"/>
            </a:xfrm>
            <a:custGeom>
              <a:avLst/>
              <a:gdLst>
                <a:gd name="T0" fmla="*/ 447 w 114"/>
                <a:gd name="T1" fmla="*/ 63 h 45"/>
                <a:gd name="T2" fmla="*/ 365 w 114"/>
                <a:gd name="T3" fmla="*/ 54 h 45"/>
                <a:gd name="T4" fmla="*/ 192 w 114"/>
                <a:gd name="T5" fmla="*/ 57 h 45"/>
                <a:gd name="T6" fmla="*/ 192 w 114"/>
                <a:gd name="T7" fmla="*/ 44 h 45"/>
                <a:gd name="T8" fmla="*/ 121 w 114"/>
                <a:gd name="T9" fmla="*/ 11 h 45"/>
                <a:gd name="T10" fmla="*/ 0 w 114"/>
                <a:gd name="T11" fmla="*/ 0 h 45"/>
                <a:gd name="T12" fmla="*/ 400 w 114"/>
                <a:gd name="T13" fmla="*/ 0 h 45"/>
                <a:gd name="T14" fmla="*/ 743 w 114"/>
                <a:gd name="T15" fmla="*/ 44 h 45"/>
                <a:gd name="T16" fmla="*/ 836 w 114"/>
                <a:gd name="T17" fmla="*/ 57 h 45"/>
                <a:gd name="T18" fmla="*/ 836 w 114"/>
                <a:gd name="T19" fmla="*/ 65 h 45"/>
                <a:gd name="T20" fmla="*/ 447 w 114"/>
                <a:gd name="T21" fmla="*/ 63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4"/>
                <a:gd name="T34" fmla="*/ 0 h 45"/>
                <a:gd name="T35" fmla="*/ 114 w 114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4" h="45">
                  <a:moveTo>
                    <a:pt x="60" y="43"/>
                  </a:moveTo>
                  <a:lnTo>
                    <a:pt x="49" y="34"/>
                  </a:lnTo>
                  <a:lnTo>
                    <a:pt x="26" y="37"/>
                  </a:lnTo>
                  <a:lnTo>
                    <a:pt x="26" y="24"/>
                  </a:lnTo>
                  <a:lnTo>
                    <a:pt x="17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101" y="24"/>
                  </a:lnTo>
                  <a:lnTo>
                    <a:pt x="114" y="37"/>
                  </a:lnTo>
                  <a:lnTo>
                    <a:pt x="114" y="45"/>
                  </a:lnTo>
                  <a:lnTo>
                    <a:pt x="60" y="43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1" name="Freeform 64"/>
            <p:cNvSpPr>
              <a:spLocks noChangeAspect="1"/>
            </p:cNvSpPr>
            <p:nvPr/>
          </p:nvSpPr>
          <p:spPr bwMode="auto">
            <a:xfrm>
              <a:off x="2940" y="1589"/>
              <a:ext cx="133" cy="57"/>
            </a:xfrm>
            <a:custGeom>
              <a:avLst/>
              <a:gdLst>
                <a:gd name="T0" fmla="*/ 0 w 121"/>
                <a:gd name="T1" fmla="*/ 58 h 56"/>
                <a:gd name="T2" fmla="*/ 38 w 121"/>
                <a:gd name="T3" fmla="*/ 15 h 56"/>
                <a:gd name="T4" fmla="*/ 148 w 121"/>
                <a:gd name="T5" fmla="*/ 2 h 56"/>
                <a:gd name="T6" fmla="*/ 239 w 121"/>
                <a:gd name="T7" fmla="*/ 21 h 56"/>
                <a:gd name="T8" fmla="*/ 266 w 121"/>
                <a:gd name="T9" fmla="*/ 21 h 56"/>
                <a:gd name="T10" fmla="*/ 318 w 121"/>
                <a:gd name="T11" fmla="*/ 17 h 56"/>
                <a:gd name="T12" fmla="*/ 318 w 121"/>
                <a:gd name="T13" fmla="*/ 2 h 56"/>
                <a:gd name="T14" fmla="*/ 410 w 121"/>
                <a:gd name="T15" fmla="*/ 2 h 56"/>
                <a:gd name="T16" fmla="*/ 563 w 121"/>
                <a:gd name="T17" fmla="*/ 6 h 56"/>
                <a:gd name="T18" fmla="*/ 679 w 121"/>
                <a:gd name="T19" fmla="*/ 0 h 56"/>
                <a:gd name="T20" fmla="*/ 764 w 121"/>
                <a:gd name="T21" fmla="*/ 2 h 56"/>
                <a:gd name="T22" fmla="*/ 856 w 121"/>
                <a:gd name="T23" fmla="*/ 17 h 56"/>
                <a:gd name="T24" fmla="*/ 797 w 121"/>
                <a:gd name="T25" fmla="*/ 64 h 56"/>
                <a:gd name="T26" fmla="*/ 764 w 121"/>
                <a:gd name="T27" fmla="*/ 66 h 56"/>
                <a:gd name="T28" fmla="*/ 599 w 121"/>
                <a:gd name="T29" fmla="*/ 75 h 56"/>
                <a:gd name="T30" fmla="*/ 546 w 121"/>
                <a:gd name="T31" fmla="*/ 68 h 56"/>
                <a:gd name="T32" fmla="*/ 497 w 121"/>
                <a:gd name="T33" fmla="*/ 66 h 56"/>
                <a:gd name="T34" fmla="*/ 423 w 121"/>
                <a:gd name="T35" fmla="*/ 60 h 56"/>
                <a:gd name="T36" fmla="*/ 266 w 121"/>
                <a:gd name="T37" fmla="*/ 53 h 56"/>
                <a:gd name="T38" fmla="*/ 166 w 121"/>
                <a:gd name="T39" fmla="*/ 53 h 56"/>
                <a:gd name="T40" fmla="*/ 0 w 121"/>
                <a:gd name="T41" fmla="*/ 58 h 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1"/>
                <a:gd name="T64" fmla="*/ 0 h 56"/>
                <a:gd name="T65" fmla="*/ 121 w 121"/>
                <a:gd name="T66" fmla="*/ 56 h 5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1" h="56">
                  <a:moveTo>
                    <a:pt x="0" y="39"/>
                  </a:moveTo>
                  <a:lnTo>
                    <a:pt x="6" y="15"/>
                  </a:lnTo>
                  <a:lnTo>
                    <a:pt x="21" y="2"/>
                  </a:lnTo>
                  <a:lnTo>
                    <a:pt x="34" y="21"/>
                  </a:lnTo>
                  <a:lnTo>
                    <a:pt x="39" y="21"/>
                  </a:lnTo>
                  <a:lnTo>
                    <a:pt x="45" y="17"/>
                  </a:lnTo>
                  <a:lnTo>
                    <a:pt x="45" y="2"/>
                  </a:lnTo>
                  <a:lnTo>
                    <a:pt x="58" y="2"/>
                  </a:lnTo>
                  <a:lnTo>
                    <a:pt x="80" y="6"/>
                  </a:lnTo>
                  <a:lnTo>
                    <a:pt x="95" y="0"/>
                  </a:lnTo>
                  <a:lnTo>
                    <a:pt x="108" y="2"/>
                  </a:lnTo>
                  <a:lnTo>
                    <a:pt x="121" y="17"/>
                  </a:lnTo>
                  <a:lnTo>
                    <a:pt x="114" y="45"/>
                  </a:lnTo>
                  <a:lnTo>
                    <a:pt x="108" y="47"/>
                  </a:lnTo>
                  <a:lnTo>
                    <a:pt x="84" y="56"/>
                  </a:lnTo>
                  <a:lnTo>
                    <a:pt x="78" y="49"/>
                  </a:lnTo>
                  <a:lnTo>
                    <a:pt x="71" y="47"/>
                  </a:lnTo>
                  <a:lnTo>
                    <a:pt x="60" y="41"/>
                  </a:lnTo>
                  <a:lnTo>
                    <a:pt x="39" y="34"/>
                  </a:lnTo>
                  <a:lnTo>
                    <a:pt x="24" y="34"/>
                  </a:lnTo>
                  <a:lnTo>
                    <a:pt x="0" y="3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2" name="Freeform 65"/>
            <p:cNvSpPr>
              <a:spLocks noChangeAspect="1"/>
            </p:cNvSpPr>
            <p:nvPr/>
          </p:nvSpPr>
          <p:spPr bwMode="auto">
            <a:xfrm>
              <a:off x="2926" y="1625"/>
              <a:ext cx="107" cy="62"/>
            </a:xfrm>
            <a:custGeom>
              <a:avLst/>
              <a:gdLst>
                <a:gd name="T0" fmla="*/ 440 w 97"/>
                <a:gd name="T1" fmla="*/ 80 h 61"/>
                <a:gd name="T2" fmla="*/ 378 w 97"/>
                <a:gd name="T3" fmla="*/ 63 h 61"/>
                <a:gd name="T4" fmla="*/ 0 w 97"/>
                <a:gd name="T5" fmla="*/ 63 h 61"/>
                <a:gd name="T6" fmla="*/ 83 w 97"/>
                <a:gd name="T7" fmla="*/ 58 h 61"/>
                <a:gd name="T8" fmla="*/ 0 w 97"/>
                <a:gd name="T9" fmla="*/ 63 h 61"/>
                <a:gd name="T10" fmla="*/ 4 w 97"/>
                <a:gd name="T11" fmla="*/ 56 h 61"/>
                <a:gd name="T12" fmla="*/ 181 w 97"/>
                <a:gd name="T13" fmla="*/ 56 h 61"/>
                <a:gd name="T14" fmla="*/ 101 w 97"/>
                <a:gd name="T15" fmla="*/ 5 h 61"/>
                <a:gd name="T16" fmla="*/ 290 w 97"/>
                <a:gd name="T17" fmla="*/ 0 h 61"/>
                <a:gd name="T18" fmla="*/ 406 w 97"/>
                <a:gd name="T19" fmla="*/ 0 h 61"/>
                <a:gd name="T20" fmla="*/ 559 w 97"/>
                <a:gd name="T21" fmla="*/ 7 h 61"/>
                <a:gd name="T22" fmla="*/ 635 w 97"/>
                <a:gd name="T23" fmla="*/ 13 h 61"/>
                <a:gd name="T24" fmla="*/ 663 w 97"/>
                <a:gd name="T25" fmla="*/ 15 h 61"/>
                <a:gd name="T26" fmla="*/ 731 w 97"/>
                <a:gd name="T27" fmla="*/ 20 h 61"/>
                <a:gd name="T28" fmla="*/ 700 w 97"/>
                <a:gd name="T29" fmla="*/ 58 h 61"/>
                <a:gd name="T30" fmla="*/ 612 w 97"/>
                <a:gd name="T31" fmla="*/ 71 h 61"/>
                <a:gd name="T32" fmla="*/ 440 w 97"/>
                <a:gd name="T33" fmla="*/ 80 h 6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7"/>
                <a:gd name="T52" fmla="*/ 0 h 61"/>
                <a:gd name="T53" fmla="*/ 97 w 97"/>
                <a:gd name="T54" fmla="*/ 61 h 6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7" h="61">
                  <a:moveTo>
                    <a:pt x="58" y="61"/>
                  </a:moveTo>
                  <a:lnTo>
                    <a:pt x="50" y="44"/>
                  </a:lnTo>
                  <a:lnTo>
                    <a:pt x="0" y="44"/>
                  </a:lnTo>
                  <a:lnTo>
                    <a:pt x="11" y="39"/>
                  </a:lnTo>
                  <a:lnTo>
                    <a:pt x="0" y="44"/>
                  </a:lnTo>
                  <a:lnTo>
                    <a:pt x="4" y="37"/>
                  </a:lnTo>
                  <a:lnTo>
                    <a:pt x="24" y="37"/>
                  </a:lnTo>
                  <a:lnTo>
                    <a:pt x="13" y="5"/>
                  </a:lnTo>
                  <a:lnTo>
                    <a:pt x="39" y="0"/>
                  </a:lnTo>
                  <a:lnTo>
                    <a:pt x="54" y="0"/>
                  </a:lnTo>
                  <a:lnTo>
                    <a:pt x="73" y="7"/>
                  </a:lnTo>
                  <a:lnTo>
                    <a:pt x="84" y="13"/>
                  </a:lnTo>
                  <a:lnTo>
                    <a:pt x="88" y="15"/>
                  </a:lnTo>
                  <a:lnTo>
                    <a:pt x="97" y="20"/>
                  </a:lnTo>
                  <a:lnTo>
                    <a:pt x="93" y="39"/>
                  </a:lnTo>
                  <a:lnTo>
                    <a:pt x="80" y="52"/>
                  </a:lnTo>
                  <a:lnTo>
                    <a:pt x="58" y="6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3" name="Freeform 66"/>
            <p:cNvSpPr>
              <a:spLocks noChangeAspect="1"/>
            </p:cNvSpPr>
            <p:nvPr/>
          </p:nvSpPr>
          <p:spPr bwMode="auto">
            <a:xfrm>
              <a:off x="3057" y="1812"/>
              <a:ext cx="59" cy="57"/>
            </a:xfrm>
            <a:custGeom>
              <a:avLst/>
              <a:gdLst>
                <a:gd name="T0" fmla="*/ 0 w 54"/>
                <a:gd name="T1" fmla="*/ 0 h 56"/>
                <a:gd name="T2" fmla="*/ 114 w 54"/>
                <a:gd name="T3" fmla="*/ 6 h 56"/>
                <a:gd name="T4" fmla="*/ 175 w 54"/>
                <a:gd name="T5" fmla="*/ 6 h 56"/>
                <a:gd name="T6" fmla="*/ 236 w 54"/>
                <a:gd name="T7" fmla="*/ 21 h 56"/>
                <a:gd name="T8" fmla="*/ 256 w 54"/>
                <a:gd name="T9" fmla="*/ 47 h 56"/>
                <a:gd name="T10" fmla="*/ 337 w 54"/>
                <a:gd name="T11" fmla="*/ 58 h 56"/>
                <a:gd name="T12" fmla="*/ 216 w 54"/>
                <a:gd name="T13" fmla="*/ 60 h 56"/>
                <a:gd name="T14" fmla="*/ 175 w 54"/>
                <a:gd name="T15" fmla="*/ 64 h 56"/>
                <a:gd name="T16" fmla="*/ 150 w 54"/>
                <a:gd name="T17" fmla="*/ 75 h 56"/>
                <a:gd name="T18" fmla="*/ 114 w 54"/>
                <a:gd name="T19" fmla="*/ 26 h 56"/>
                <a:gd name="T20" fmla="*/ 104 w 54"/>
                <a:gd name="T21" fmla="*/ 26 h 56"/>
                <a:gd name="T22" fmla="*/ 0 w 54"/>
                <a:gd name="T23" fmla="*/ 0 h 5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4"/>
                <a:gd name="T37" fmla="*/ 0 h 56"/>
                <a:gd name="T38" fmla="*/ 54 w 54"/>
                <a:gd name="T39" fmla="*/ 56 h 5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4" h="56">
                  <a:moveTo>
                    <a:pt x="0" y="0"/>
                  </a:moveTo>
                  <a:lnTo>
                    <a:pt x="19" y="6"/>
                  </a:lnTo>
                  <a:lnTo>
                    <a:pt x="28" y="6"/>
                  </a:lnTo>
                  <a:lnTo>
                    <a:pt x="38" y="21"/>
                  </a:lnTo>
                  <a:lnTo>
                    <a:pt x="41" y="28"/>
                  </a:lnTo>
                  <a:lnTo>
                    <a:pt x="54" y="39"/>
                  </a:lnTo>
                  <a:lnTo>
                    <a:pt x="34" y="41"/>
                  </a:lnTo>
                  <a:lnTo>
                    <a:pt x="28" y="45"/>
                  </a:lnTo>
                  <a:lnTo>
                    <a:pt x="23" y="5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4" name="Freeform 67"/>
            <p:cNvSpPr>
              <a:spLocks noChangeAspect="1"/>
            </p:cNvSpPr>
            <p:nvPr/>
          </p:nvSpPr>
          <p:spPr bwMode="auto">
            <a:xfrm>
              <a:off x="3015" y="853"/>
              <a:ext cx="2403" cy="1094"/>
            </a:xfrm>
            <a:custGeom>
              <a:avLst/>
              <a:gdLst>
                <a:gd name="T0" fmla="*/ 1448 w 2180"/>
                <a:gd name="T1" fmla="*/ 661 h 1075"/>
                <a:gd name="T2" fmla="*/ 1020 w 2180"/>
                <a:gd name="T3" fmla="*/ 741 h 1075"/>
                <a:gd name="T4" fmla="*/ 1571 w 2180"/>
                <a:gd name="T5" fmla="*/ 607 h 1075"/>
                <a:gd name="T6" fmla="*/ 2571 w 2180"/>
                <a:gd name="T7" fmla="*/ 596 h 1075"/>
                <a:gd name="T8" fmla="*/ 3029 w 2180"/>
                <a:gd name="T9" fmla="*/ 585 h 1075"/>
                <a:gd name="T10" fmla="*/ 4125 w 2180"/>
                <a:gd name="T11" fmla="*/ 536 h 1075"/>
                <a:gd name="T12" fmla="*/ 3941 w 2180"/>
                <a:gd name="T13" fmla="*/ 425 h 1075"/>
                <a:gd name="T14" fmla="*/ 4644 w 2180"/>
                <a:gd name="T15" fmla="*/ 628 h 1075"/>
                <a:gd name="T16" fmla="*/ 5486 w 2180"/>
                <a:gd name="T17" fmla="*/ 571 h 1075"/>
                <a:gd name="T18" fmla="*/ 4470 w 2180"/>
                <a:gd name="T19" fmla="*/ 370 h 1075"/>
                <a:gd name="T20" fmla="*/ 5262 w 2180"/>
                <a:gd name="T21" fmla="*/ 394 h 1075"/>
                <a:gd name="T22" fmla="*/ 5618 w 2180"/>
                <a:gd name="T23" fmla="*/ 453 h 1075"/>
                <a:gd name="T24" fmla="*/ 5574 w 2180"/>
                <a:gd name="T25" fmla="*/ 302 h 1075"/>
                <a:gd name="T26" fmla="*/ 5431 w 2180"/>
                <a:gd name="T27" fmla="*/ 235 h 1075"/>
                <a:gd name="T28" fmla="*/ 6197 w 2180"/>
                <a:gd name="T29" fmla="*/ 166 h 1075"/>
                <a:gd name="T30" fmla="*/ 6438 w 2180"/>
                <a:gd name="T31" fmla="*/ 97 h 1075"/>
                <a:gd name="T32" fmla="*/ 6768 w 2180"/>
                <a:gd name="T33" fmla="*/ 73 h 1075"/>
                <a:gd name="T34" fmla="*/ 7795 w 2180"/>
                <a:gd name="T35" fmla="*/ 101 h 1075"/>
                <a:gd name="T36" fmla="*/ 7460 w 2180"/>
                <a:gd name="T37" fmla="*/ 225 h 1075"/>
                <a:gd name="T38" fmla="*/ 7903 w 2180"/>
                <a:gd name="T39" fmla="*/ 205 h 1075"/>
                <a:gd name="T40" fmla="*/ 8447 w 2180"/>
                <a:gd name="T41" fmla="*/ 188 h 1075"/>
                <a:gd name="T42" fmla="*/ 9149 w 2180"/>
                <a:gd name="T43" fmla="*/ 143 h 1075"/>
                <a:gd name="T44" fmla="*/ 10093 w 2180"/>
                <a:gd name="T45" fmla="*/ 199 h 1075"/>
                <a:gd name="T46" fmla="*/ 11095 w 2180"/>
                <a:gd name="T47" fmla="*/ 154 h 1075"/>
                <a:gd name="T48" fmla="*/ 11711 w 2180"/>
                <a:gd name="T49" fmla="*/ 73 h 1075"/>
                <a:gd name="T50" fmla="*/ 12023 w 2180"/>
                <a:gd name="T51" fmla="*/ 73 h 1075"/>
                <a:gd name="T52" fmla="*/ 13919 w 2180"/>
                <a:gd name="T53" fmla="*/ 123 h 1075"/>
                <a:gd name="T54" fmla="*/ 14785 w 2180"/>
                <a:gd name="T55" fmla="*/ 56 h 1075"/>
                <a:gd name="T56" fmla="*/ 16743 w 2180"/>
                <a:gd name="T57" fmla="*/ 28 h 1075"/>
                <a:gd name="T58" fmla="*/ 17361 w 2180"/>
                <a:gd name="T59" fmla="*/ 54 h 1075"/>
                <a:gd name="T60" fmla="*/ 17959 w 2180"/>
                <a:gd name="T61" fmla="*/ 196 h 1075"/>
                <a:gd name="T62" fmla="*/ 17026 w 2180"/>
                <a:gd name="T63" fmla="*/ 166 h 1075"/>
                <a:gd name="T64" fmla="*/ 16639 w 2180"/>
                <a:gd name="T65" fmla="*/ 225 h 1075"/>
                <a:gd name="T66" fmla="*/ 17149 w 2180"/>
                <a:gd name="T67" fmla="*/ 297 h 1075"/>
                <a:gd name="T68" fmla="*/ 16927 w 2180"/>
                <a:gd name="T69" fmla="*/ 451 h 1075"/>
                <a:gd name="T70" fmla="*/ 16413 w 2180"/>
                <a:gd name="T71" fmla="*/ 530 h 1075"/>
                <a:gd name="T72" fmla="*/ 16242 w 2180"/>
                <a:gd name="T73" fmla="*/ 678 h 1075"/>
                <a:gd name="T74" fmla="*/ 16551 w 2180"/>
                <a:gd name="T75" fmla="*/ 837 h 1075"/>
                <a:gd name="T76" fmla="*/ 15603 w 2180"/>
                <a:gd name="T77" fmla="*/ 763 h 1075"/>
                <a:gd name="T78" fmla="*/ 15850 w 2180"/>
                <a:gd name="T79" fmla="*/ 437 h 1075"/>
                <a:gd name="T80" fmla="*/ 15475 w 2180"/>
                <a:gd name="T81" fmla="*/ 538 h 1075"/>
                <a:gd name="T82" fmla="*/ 14890 w 2180"/>
                <a:gd name="T83" fmla="*/ 665 h 1075"/>
                <a:gd name="T84" fmla="*/ 14288 w 2180"/>
                <a:gd name="T85" fmla="*/ 680 h 1075"/>
                <a:gd name="T86" fmla="*/ 13573 w 2180"/>
                <a:gd name="T87" fmla="*/ 958 h 1075"/>
                <a:gd name="T88" fmla="*/ 14171 w 2180"/>
                <a:gd name="T89" fmla="*/ 971 h 1075"/>
                <a:gd name="T90" fmla="*/ 13622 w 2180"/>
                <a:gd name="T91" fmla="*/ 1398 h 1075"/>
                <a:gd name="T92" fmla="*/ 13573 w 2180"/>
                <a:gd name="T93" fmla="*/ 1189 h 1075"/>
                <a:gd name="T94" fmla="*/ 12313 w 2180"/>
                <a:gd name="T95" fmla="*/ 1022 h 1075"/>
                <a:gd name="T96" fmla="*/ 11659 w 2180"/>
                <a:gd name="T97" fmla="*/ 1135 h 1075"/>
                <a:gd name="T98" fmla="*/ 10309 w 2180"/>
                <a:gd name="T99" fmla="*/ 1187 h 1075"/>
                <a:gd name="T100" fmla="*/ 9097 w 2180"/>
                <a:gd name="T101" fmla="*/ 1199 h 1075"/>
                <a:gd name="T102" fmla="*/ 7875 w 2180"/>
                <a:gd name="T103" fmla="*/ 1237 h 1075"/>
                <a:gd name="T104" fmla="*/ 4268 w 2180"/>
                <a:gd name="T105" fmla="*/ 1116 h 1075"/>
                <a:gd name="T106" fmla="*/ 2797 w 2180"/>
                <a:gd name="T107" fmla="*/ 1433 h 1075"/>
                <a:gd name="T108" fmla="*/ 1882 w 2180"/>
                <a:gd name="T109" fmla="*/ 1454 h 1075"/>
                <a:gd name="T110" fmla="*/ 1655 w 2180"/>
                <a:gd name="T111" fmla="*/ 1285 h 1075"/>
                <a:gd name="T112" fmla="*/ 418 w 2180"/>
                <a:gd name="T113" fmla="*/ 1048 h 1075"/>
                <a:gd name="T114" fmla="*/ 284 w 2180"/>
                <a:gd name="T115" fmla="*/ 939 h 1075"/>
                <a:gd name="T116" fmla="*/ 258 w 2180"/>
                <a:gd name="T117" fmla="*/ 763 h 107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80"/>
                <a:gd name="T178" fmla="*/ 0 h 1075"/>
                <a:gd name="T179" fmla="*/ 2180 w 2180"/>
                <a:gd name="T180" fmla="*/ 1075 h 107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80" h="1075">
                  <a:moveTo>
                    <a:pt x="15" y="414"/>
                  </a:moveTo>
                  <a:lnTo>
                    <a:pt x="21" y="414"/>
                  </a:lnTo>
                  <a:lnTo>
                    <a:pt x="28" y="414"/>
                  </a:lnTo>
                  <a:lnTo>
                    <a:pt x="24" y="412"/>
                  </a:lnTo>
                  <a:lnTo>
                    <a:pt x="54" y="412"/>
                  </a:lnTo>
                  <a:lnTo>
                    <a:pt x="43" y="414"/>
                  </a:lnTo>
                  <a:lnTo>
                    <a:pt x="58" y="416"/>
                  </a:lnTo>
                  <a:lnTo>
                    <a:pt x="58" y="427"/>
                  </a:lnTo>
                  <a:lnTo>
                    <a:pt x="60" y="420"/>
                  </a:lnTo>
                  <a:lnTo>
                    <a:pt x="86" y="420"/>
                  </a:lnTo>
                  <a:lnTo>
                    <a:pt x="151" y="444"/>
                  </a:lnTo>
                  <a:lnTo>
                    <a:pt x="175" y="466"/>
                  </a:lnTo>
                  <a:lnTo>
                    <a:pt x="160" y="487"/>
                  </a:lnTo>
                  <a:lnTo>
                    <a:pt x="138" y="496"/>
                  </a:lnTo>
                  <a:lnTo>
                    <a:pt x="54" y="472"/>
                  </a:lnTo>
                  <a:lnTo>
                    <a:pt x="95" y="507"/>
                  </a:lnTo>
                  <a:lnTo>
                    <a:pt x="93" y="522"/>
                  </a:lnTo>
                  <a:lnTo>
                    <a:pt x="101" y="546"/>
                  </a:lnTo>
                  <a:lnTo>
                    <a:pt x="138" y="561"/>
                  </a:lnTo>
                  <a:lnTo>
                    <a:pt x="149" y="559"/>
                  </a:lnTo>
                  <a:lnTo>
                    <a:pt x="140" y="546"/>
                  </a:lnTo>
                  <a:lnTo>
                    <a:pt x="134" y="541"/>
                  </a:lnTo>
                  <a:lnTo>
                    <a:pt x="119" y="531"/>
                  </a:lnTo>
                  <a:lnTo>
                    <a:pt x="125" y="522"/>
                  </a:lnTo>
                  <a:lnTo>
                    <a:pt x="145" y="531"/>
                  </a:lnTo>
                  <a:lnTo>
                    <a:pt x="145" y="537"/>
                  </a:lnTo>
                  <a:lnTo>
                    <a:pt x="179" y="537"/>
                  </a:lnTo>
                  <a:lnTo>
                    <a:pt x="164" y="509"/>
                  </a:lnTo>
                  <a:lnTo>
                    <a:pt x="173" y="496"/>
                  </a:lnTo>
                  <a:lnTo>
                    <a:pt x="188" y="481"/>
                  </a:lnTo>
                  <a:lnTo>
                    <a:pt x="205" y="481"/>
                  </a:lnTo>
                  <a:lnTo>
                    <a:pt x="218" y="492"/>
                  </a:lnTo>
                  <a:lnTo>
                    <a:pt x="218" y="468"/>
                  </a:lnTo>
                  <a:lnTo>
                    <a:pt x="205" y="459"/>
                  </a:lnTo>
                  <a:lnTo>
                    <a:pt x="203" y="431"/>
                  </a:lnTo>
                  <a:lnTo>
                    <a:pt x="190" y="427"/>
                  </a:lnTo>
                  <a:lnTo>
                    <a:pt x="229" y="429"/>
                  </a:lnTo>
                  <a:lnTo>
                    <a:pt x="239" y="442"/>
                  </a:lnTo>
                  <a:lnTo>
                    <a:pt x="220" y="446"/>
                  </a:lnTo>
                  <a:lnTo>
                    <a:pt x="220" y="453"/>
                  </a:lnTo>
                  <a:lnTo>
                    <a:pt x="244" y="468"/>
                  </a:lnTo>
                  <a:lnTo>
                    <a:pt x="259" y="464"/>
                  </a:lnTo>
                  <a:lnTo>
                    <a:pt x="259" y="446"/>
                  </a:lnTo>
                  <a:lnTo>
                    <a:pt x="270" y="444"/>
                  </a:lnTo>
                  <a:lnTo>
                    <a:pt x="263" y="438"/>
                  </a:lnTo>
                  <a:lnTo>
                    <a:pt x="304" y="416"/>
                  </a:lnTo>
                  <a:lnTo>
                    <a:pt x="311" y="427"/>
                  </a:lnTo>
                  <a:lnTo>
                    <a:pt x="313" y="420"/>
                  </a:lnTo>
                  <a:lnTo>
                    <a:pt x="309" y="416"/>
                  </a:lnTo>
                  <a:lnTo>
                    <a:pt x="324" y="403"/>
                  </a:lnTo>
                  <a:lnTo>
                    <a:pt x="332" y="403"/>
                  </a:lnTo>
                  <a:lnTo>
                    <a:pt x="324" y="407"/>
                  </a:lnTo>
                  <a:lnTo>
                    <a:pt x="328" y="420"/>
                  </a:lnTo>
                  <a:lnTo>
                    <a:pt x="324" y="429"/>
                  </a:lnTo>
                  <a:lnTo>
                    <a:pt x="324" y="431"/>
                  </a:lnTo>
                  <a:lnTo>
                    <a:pt x="339" y="423"/>
                  </a:lnTo>
                  <a:lnTo>
                    <a:pt x="343" y="427"/>
                  </a:lnTo>
                  <a:lnTo>
                    <a:pt x="343" y="414"/>
                  </a:lnTo>
                  <a:lnTo>
                    <a:pt x="354" y="412"/>
                  </a:lnTo>
                  <a:lnTo>
                    <a:pt x="369" y="412"/>
                  </a:lnTo>
                  <a:lnTo>
                    <a:pt x="393" y="399"/>
                  </a:lnTo>
                  <a:lnTo>
                    <a:pt x="399" y="414"/>
                  </a:lnTo>
                  <a:lnTo>
                    <a:pt x="403" y="414"/>
                  </a:lnTo>
                  <a:lnTo>
                    <a:pt x="403" y="403"/>
                  </a:lnTo>
                  <a:lnTo>
                    <a:pt x="414" y="399"/>
                  </a:lnTo>
                  <a:lnTo>
                    <a:pt x="399" y="379"/>
                  </a:lnTo>
                  <a:lnTo>
                    <a:pt x="403" y="373"/>
                  </a:lnTo>
                  <a:lnTo>
                    <a:pt x="460" y="379"/>
                  </a:lnTo>
                  <a:lnTo>
                    <a:pt x="498" y="388"/>
                  </a:lnTo>
                  <a:lnTo>
                    <a:pt x="518" y="403"/>
                  </a:lnTo>
                  <a:lnTo>
                    <a:pt x="522" y="384"/>
                  </a:lnTo>
                  <a:lnTo>
                    <a:pt x="501" y="377"/>
                  </a:lnTo>
                  <a:lnTo>
                    <a:pt x="501" y="369"/>
                  </a:lnTo>
                  <a:lnTo>
                    <a:pt x="483" y="369"/>
                  </a:lnTo>
                  <a:lnTo>
                    <a:pt x="479" y="358"/>
                  </a:lnTo>
                  <a:lnTo>
                    <a:pt x="483" y="358"/>
                  </a:lnTo>
                  <a:lnTo>
                    <a:pt x="483" y="356"/>
                  </a:lnTo>
                  <a:lnTo>
                    <a:pt x="477" y="334"/>
                  </a:lnTo>
                  <a:lnTo>
                    <a:pt x="468" y="338"/>
                  </a:lnTo>
                  <a:lnTo>
                    <a:pt x="468" y="328"/>
                  </a:lnTo>
                  <a:lnTo>
                    <a:pt x="464" y="332"/>
                  </a:lnTo>
                  <a:lnTo>
                    <a:pt x="468" y="321"/>
                  </a:lnTo>
                  <a:lnTo>
                    <a:pt x="477" y="317"/>
                  </a:lnTo>
                  <a:lnTo>
                    <a:pt x="479" y="300"/>
                  </a:lnTo>
                  <a:lnTo>
                    <a:pt x="473" y="269"/>
                  </a:lnTo>
                  <a:lnTo>
                    <a:pt x="518" y="269"/>
                  </a:lnTo>
                  <a:lnTo>
                    <a:pt x="524" y="284"/>
                  </a:lnTo>
                  <a:lnTo>
                    <a:pt x="524" y="306"/>
                  </a:lnTo>
                  <a:lnTo>
                    <a:pt x="544" y="323"/>
                  </a:lnTo>
                  <a:lnTo>
                    <a:pt x="568" y="379"/>
                  </a:lnTo>
                  <a:lnTo>
                    <a:pt x="587" y="386"/>
                  </a:lnTo>
                  <a:lnTo>
                    <a:pt x="578" y="392"/>
                  </a:lnTo>
                  <a:lnTo>
                    <a:pt x="587" y="407"/>
                  </a:lnTo>
                  <a:lnTo>
                    <a:pt x="574" y="429"/>
                  </a:lnTo>
                  <a:lnTo>
                    <a:pt x="578" y="436"/>
                  </a:lnTo>
                  <a:lnTo>
                    <a:pt x="563" y="442"/>
                  </a:lnTo>
                  <a:lnTo>
                    <a:pt x="552" y="431"/>
                  </a:lnTo>
                  <a:lnTo>
                    <a:pt x="537" y="438"/>
                  </a:lnTo>
                  <a:lnTo>
                    <a:pt x="563" y="446"/>
                  </a:lnTo>
                  <a:lnTo>
                    <a:pt x="593" y="444"/>
                  </a:lnTo>
                  <a:lnTo>
                    <a:pt x="589" y="436"/>
                  </a:lnTo>
                  <a:lnTo>
                    <a:pt x="604" y="423"/>
                  </a:lnTo>
                  <a:lnTo>
                    <a:pt x="609" y="403"/>
                  </a:lnTo>
                  <a:lnTo>
                    <a:pt x="593" y="379"/>
                  </a:lnTo>
                  <a:lnTo>
                    <a:pt x="617" y="369"/>
                  </a:lnTo>
                  <a:lnTo>
                    <a:pt x="632" y="377"/>
                  </a:lnTo>
                  <a:lnTo>
                    <a:pt x="639" y="399"/>
                  </a:lnTo>
                  <a:lnTo>
                    <a:pt x="667" y="403"/>
                  </a:lnTo>
                  <a:lnTo>
                    <a:pt x="645" y="399"/>
                  </a:lnTo>
                  <a:lnTo>
                    <a:pt x="643" y="386"/>
                  </a:lnTo>
                  <a:lnTo>
                    <a:pt x="645" y="384"/>
                  </a:lnTo>
                  <a:lnTo>
                    <a:pt x="632" y="369"/>
                  </a:lnTo>
                  <a:lnTo>
                    <a:pt x="602" y="362"/>
                  </a:lnTo>
                  <a:lnTo>
                    <a:pt x="578" y="371"/>
                  </a:lnTo>
                  <a:lnTo>
                    <a:pt x="568" y="349"/>
                  </a:lnTo>
                  <a:lnTo>
                    <a:pt x="563" y="321"/>
                  </a:lnTo>
                  <a:lnTo>
                    <a:pt x="539" y="306"/>
                  </a:lnTo>
                  <a:lnTo>
                    <a:pt x="539" y="293"/>
                  </a:lnTo>
                  <a:lnTo>
                    <a:pt x="548" y="289"/>
                  </a:lnTo>
                  <a:lnTo>
                    <a:pt x="544" y="261"/>
                  </a:lnTo>
                  <a:lnTo>
                    <a:pt x="563" y="278"/>
                  </a:lnTo>
                  <a:lnTo>
                    <a:pt x="563" y="293"/>
                  </a:lnTo>
                  <a:lnTo>
                    <a:pt x="568" y="304"/>
                  </a:lnTo>
                  <a:lnTo>
                    <a:pt x="578" y="306"/>
                  </a:lnTo>
                  <a:lnTo>
                    <a:pt x="624" y="313"/>
                  </a:lnTo>
                  <a:lnTo>
                    <a:pt x="572" y="289"/>
                  </a:lnTo>
                  <a:lnTo>
                    <a:pt x="574" y="282"/>
                  </a:lnTo>
                  <a:lnTo>
                    <a:pt x="598" y="282"/>
                  </a:lnTo>
                  <a:lnTo>
                    <a:pt x="587" y="278"/>
                  </a:lnTo>
                  <a:lnTo>
                    <a:pt x="593" y="269"/>
                  </a:lnTo>
                  <a:lnTo>
                    <a:pt x="604" y="267"/>
                  </a:lnTo>
                  <a:lnTo>
                    <a:pt x="639" y="278"/>
                  </a:lnTo>
                  <a:lnTo>
                    <a:pt x="662" y="278"/>
                  </a:lnTo>
                  <a:lnTo>
                    <a:pt x="662" y="289"/>
                  </a:lnTo>
                  <a:lnTo>
                    <a:pt x="658" y="293"/>
                  </a:lnTo>
                  <a:lnTo>
                    <a:pt x="660" y="300"/>
                  </a:lnTo>
                  <a:lnTo>
                    <a:pt x="669" y="308"/>
                  </a:lnTo>
                  <a:lnTo>
                    <a:pt x="669" y="304"/>
                  </a:lnTo>
                  <a:lnTo>
                    <a:pt x="678" y="323"/>
                  </a:lnTo>
                  <a:lnTo>
                    <a:pt x="693" y="328"/>
                  </a:lnTo>
                  <a:lnTo>
                    <a:pt x="710" y="334"/>
                  </a:lnTo>
                  <a:lnTo>
                    <a:pt x="716" y="328"/>
                  </a:lnTo>
                  <a:lnTo>
                    <a:pt x="693" y="323"/>
                  </a:lnTo>
                  <a:lnTo>
                    <a:pt x="682" y="319"/>
                  </a:lnTo>
                  <a:lnTo>
                    <a:pt x="688" y="308"/>
                  </a:lnTo>
                  <a:lnTo>
                    <a:pt x="669" y="293"/>
                  </a:lnTo>
                  <a:lnTo>
                    <a:pt x="662" y="278"/>
                  </a:lnTo>
                  <a:lnTo>
                    <a:pt x="652" y="274"/>
                  </a:lnTo>
                  <a:lnTo>
                    <a:pt x="643" y="263"/>
                  </a:lnTo>
                  <a:lnTo>
                    <a:pt x="619" y="261"/>
                  </a:lnTo>
                  <a:lnTo>
                    <a:pt x="604" y="246"/>
                  </a:lnTo>
                  <a:lnTo>
                    <a:pt x="598" y="228"/>
                  </a:lnTo>
                  <a:lnTo>
                    <a:pt x="669" y="209"/>
                  </a:lnTo>
                  <a:lnTo>
                    <a:pt x="671" y="213"/>
                  </a:lnTo>
                  <a:lnTo>
                    <a:pt x="669" y="218"/>
                  </a:lnTo>
                  <a:lnTo>
                    <a:pt x="678" y="213"/>
                  </a:lnTo>
                  <a:lnTo>
                    <a:pt x="667" y="198"/>
                  </a:lnTo>
                  <a:lnTo>
                    <a:pt x="678" y="202"/>
                  </a:lnTo>
                  <a:lnTo>
                    <a:pt x="678" y="198"/>
                  </a:lnTo>
                  <a:lnTo>
                    <a:pt x="647" y="194"/>
                  </a:lnTo>
                  <a:lnTo>
                    <a:pt x="660" y="187"/>
                  </a:lnTo>
                  <a:lnTo>
                    <a:pt x="645" y="183"/>
                  </a:lnTo>
                  <a:lnTo>
                    <a:pt x="645" y="179"/>
                  </a:lnTo>
                  <a:lnTo>
                    <a:pt x="652" y="179"/>
                  </a:lnTo>
                  <a:lnTo>
                    <a:pt x="654" y="168"/>
                  </a:lnTo>
                  <a:lnTo>
                    <a:pt x="660" y="168"/>
                  </a:lnTo>
                  <a:lnTo>
                    <a:pt x="645" y="166"/>
                  </a:lnTo>
                  <a:lnTo>
                    <a:pt x="660" y="166"/>
                  </a:lnTo>
                  <a:lnTo>
                    <a:pt x="662" y="144"/>
                  </a:lnTo>
                  <a:lnTo>
                    <a:pt x="667" y="148"/>
                  </a:lnTo>
                  <a:lnTo>
                    <a:pt x="678" y="140"/>
                  </a:lnTo>
                  <a:lnTo>
                    <a:pt x="697" y="138"/>
                  </a:lnTo>
                  <a:lnTo>
                    <a:pt x="697" y="133"/>
                  </a:lnTo>
                  <a:lnTo>
                    <a:pt x="719" y="123"/>
                  </a:lnTo>
                  <a:lnTo>
                    <a:pt x="703" y="118"/>
                  </a:lnTo>
                  <a:lnTo>
                    <a:pt x="721" y="114"/>
                  </a:lnTo>
                  <a:lnTo>
                    <a:pt x="740" y="110"/>
                  </a:lnTo>
                  <a:lnTo>
                    <a:pt x="740" y="118"/>
                  </a:lnTo>
                  <a:lnTo>
                    <a:pt x="753" y="114"/>
                  </a:lnTo>
                  <a:lnTo>
                    <a:pt x="753" y="118"/>
                  </a:lnTo>
                  <a:lnTo>
                    <a:pt x="757" y="110"/>
                  </a:lnTo>
                  <a:lnTo>
                    <a:pt x="762" y="110"/>
                  </a:lnTo>
                  <a:lnTo>
                    <a:pt x="764" y="92"/>
                  </a:lnTo>
                  <a:lnTo>
                    <a:pt x="768" y="101"/>
                  </a:lnTo>
                  <a:lnTo>
                    <a:pt x="777" y="99"/>
                  </a:lnTo>
                  <a:lnTo>
                    <a:pt x="753" y="79"/>
                  </a:lnTo>
                  <a:lnTo>
                    <a:pt x="768" y="84"/>
                  </a:lnTo>
                  <a:lnTo>
                    <a:pt x="781" y="75"/>
                  </a:lnTo>
                  <a:lnTo>
                    <a:pt x="803" y="79"/>
                  </a:lnTo>
                  <a:lnTo>
                    <a:pt x="803" y="64"/>
                  </a:lnTo>
                  <a:lnTo>
                    <a:pt x="788" y="73"/>
                  </a:lnTo>
                  <a:lnTo>
                    <a:pt x="781" y="71"/>
                  </a:lnTo>
                  <a:lnTo>
                    <a:pt x="768" y="58"/>
                  </a:lnTo>
                  <a:lnTo>
                    <a:pt x="764" y="23"/>
                  </a:lnTo>
                  <a:lnTo>
                    <a:pt x="770" y="19"/>
                  </a:lnTo>
                  <a:lnTo>
                    <a:pt x="786" y="21"/>
                  </a:lnTo>
                  <a:lnTo>
                    <a:pt x="792" y="30"/>
                  </a:lnTo>
                  <a:lnTo>
                    <a:pt x="783" y="38"/>
                  </a:lnTo>
                  <a:lnTo>
                    <a:pt x="796" y="43"/>
                  </a:lnTo>
                  <a:lnTo>
                    <a:pt x="798" y="38"/>
                  </a:lnTo>
                  <a:lnTo>
                    <a:pt x="803" y="43"/>
                  </a:lnTo>
                  <a:lnTo>
                    <a:pt x="807" y="53"/>
                  </a:lnTo>
                  <a:lnTo>
                    <a:pt x="814" y="45"/>
                  </a:lnTo>
                  <a:lnTo>
                    <a:pt x="822" y="53"/>
                  </a:lnTo>
                  <a:lnTo>
                    <a:pt x="827" y="71"/>
                  </a:lnTo>
                  <a:lnTo>
                    <a:pt x="835" y="64"/>
                  </a:lnTo>
                  <a:lnTo>
                    <a:pt x="833" y="53"/>
                  </a:lnTo>
                  <a:lnTo>
                    <a:pt x="857" y="45"/>
                  </a:lnTo>
                  <a:lnTo>
                    <a:pt x="865" y="53"/>
                  </a:lnTo>
                  <a:lnTo>
                    <a:pt x="865" y="45"/>
                  </a:lnTo>
                  <a:lnTo>
                    <a:pt x="887" y="38"/>
                  </a:lnTo>
                  <a:lnTo>
                    <a:pt x="921" y="49"/>
                  </a:lnTo>
                  <a:lnTo>
                    <a:pt x="928" y="53"/>
                  </a:lnTo>
                  <a:lnTo>
                    <a:pt x="928" y="49"/>
                  </a:lnTo>
                  <a:lnTo>
                    <a:pt x="945" y="58"/>
                  </a:lnTo>
                  <a:lnTo>
                    <a:pt x="947" y="73"/>
                  </a:lnTo>
                  <a:lnTo>
                    <a:pt x="930" y="69"/>
                  </a:lnTo>
                  <a:lnTo>
                    <a:pt x="941" y="79"/>
                  </a:lnTo>
                  <a:lnTo>
                    <a:pt x="945" y="75"/>
                  </a:lnTo>
                  <a:lnTo>
                    <a:pt x="958" y="84"/>
                  </a:lnTo>
                  <a:lnTo>
                    <a:pt x="956" y="103"/>
                  </a:lnTo>
                  <a:lnTo>
                    <a:pt x="958" y="107"/>
                  </a:lnTo>
                  <a:lnTo>
                    <a:pt x="947" y="110"/>
                  </a:lnTo>
                  <a:lnTo>
                    <a:pt x="945" y="125"/>
                  </a:lnTo>
                  <a:lnTo>
                    <a:pt x="930" y="129"/>
                  </a:lnTo>
                  <a:lnTo>
                    <a:pt x="941" y="133"/>
                  </a:lnTo>
                  <a:lnTo>
                    <a:pt x="915" y="159"/>
                  </a:lnTo>
                  <a:lnTo>
                    <a:pt x="906" y="159"/>
                  </a:lnTo>
                  <a:lnTo>
                    <a:pt x="909" y="164"/>
                  </a:lnTo>
                  <a:lnTo>
                    <a:pt x="906" y="189"/>
                  </a:lnTo>
                  <a:lnTo>
                    <a:pt x="924" y="183"/>
                  </a:lnTo>
                  <a:lnTo>
                    <a:pt x="915" y="181"/>
                  </a:lnTo>
                  <a:lnTo>
                    <a:pt x="930" y="168"/>
                  </a:lnTo>
                  <a:lnTo>
                    <a:pt x="932" y="172"/>
                  </a:lnTo>
                  <a:lnTo>
                    <a:pt x="932" y="166"/>
                  </a:lnTo>
                  <a:lnTo>
                    <a:pt x="947" y="164"/>
                  </a:lnTo>
                  <a:lnTo>
                    <a:pt x="945" y="155"/>
                  </a:lnTo>
                  <a:lnTo>
                    <a:pt x="960" y="159"/>
                  </a:lnTo>
                  <a:lnTo>
                    <a:pt x="978" y="144"/>
                  </a:lnTo>
                  <a:lnTo>
                    <a:pt x="960" y="144"/>
                  </a:lnTo>
                  <a:lnTo>
                    <a:pt x="947" y="148"/>
                  </a:lnTo>
                  <a:lnTo>
                    <a:pt x="945" y="144"/>
                  </a:lnTo>
                  <a:lnTo>
                    <a:pt x="947" y="133"/>
                  </a:lnTo>
                  <a:lnTo>
                    <a:pt x="978" y="133"/>
                  </a:lnTo>
                  <a:lnTo>
                    <a:pt x="978" y="138"/>
                  </a:lnTo>
                  <a:lnTo>
                    <a:pt x="993" y="138"/>
                  </a:lnTo>
                  <a:lnTo>
                    <a:pt x="993" y="133"/>
                  </a:lnTo>
                  <a:lnTo>
                    <a:pt x="1003" y="138"/>
                  </a:lnTo>
                  <a:lnTo>
                    <a:pt x="1016" y="155"/>
                  </a:lnTo>
                  <a:lnTo>
                    <a:pt x="1023" y="148"/>
                  </a:lnTo>
                  <a:lnTo>
                    <a:pt x="1010" y="140"/>
                  </a:lnTo>
                  <a:lnTo>
                    <a:pt x="1025" y="133"/>
                  </a:lnTo>
                  <a:lnTo>
                    <a:pt x="1066" y="125"/>
                  </a:lnTo>
                  <a:lnTo>
                    <a:pt x="1068" y="129"/>
                  </a:lnTo>
                  <a:lnTo>
                    <a:pt x="1062" y="133"/>
                  </a:lnTo>
                  <a:lnTo>
                    <a:pt x="1066" y="138"/>
                  </a:lnTo>
                  <a:lnTo>
                    <a:pt x="1090" y="138"/>
                  </a:lnTo>
                  <a:lnTo>
                    <a:pt x="1088" y="133"/>
                  </a:lnTo>
                  <a:lnTo>
                    <a:pt x="1096" y="133"/>
                  </a:lnTo>
                  <a:lnTo>
                    <a:pt x="1116" y="129"/>
                  </a:lnTo>
                  <a:lnTo>
                    <a:pt x="1126" y="116"/>
                  </a:lnTo>
                  <a:lnTo>
                    <a:pt x="1105" y="110"/>
                  </a:lnTo>
                  <a:lnTo>
                    <a:pt x="1105" y="101"/>
                  </a:lnTo>
                  <a:lnTo>
                    <a:pt x="1111" y="103"/>
                  </a:lnTo>
                  <a:lnTo>
                    <a:pt x="1111" y="99"/>
                  </a:lnTo>
                  <a:lnTo>
                    <a:pt x="1120" y="92"/>
                  </a:lnTo>
                  <a:lnTo>
                    <a:pt x="1137" y="99"/>
                  </a:lnTo>
                  <a:lnTo>
                    <a:pt x="1191" y="94"/>
                  </a:lnTo>
                  <a:lnTo>
                    <a:pt x="1196" y="101"/>
                  </a:lnTo>
                  <a:lnTo>
                    <a:pt x="1185" y="107"/>
                  </a:lnTo>
                  <a:lnTo>
                    <a:pt x="1187" y="114"/>
                  </a:lnTo>
                  <a:lnTo>
                    <a:pt x="1176" y="129"/>
                  </a:lnTo>
                  <a:lnTo>
                    <a:pt x="1187" y="140"/>
                  </a:lnTo>
                  <a:lnTo>
                    <a:pt x="1196" y="140"/>
                  </a:lnTo>
                  <a:lnTo>
                    <a:pt x="1185" y="129"/>
                  </a:lnTo>
                  <a:lnTo>
                    <a:pt x="1226" y="140"/>
                  </a:lnTo>
                  <a:lnTo>
                    <a:pt x="1226" y="133"/>
                  </a:lnTo>
                  <a:lnTo>
                    <a:pt x="1237" y="138"/>
                  </a:lnTo>
                  <a:lnTo>
                    <a:pt x="1230" y="144"/>
                  </a:lnTo>
                  <a:lnTo>
                    <a:pt x="1280" y="164"/>
                  </a:lnTo>
                  <a:lnTo>
                    <a:pt x="1284" y="159"/>
                  </a:lnTo>
                  <a:lnTo>
                    <a:pt x="1280" y="140"/>
                  </a:lnTo>
                  <a:lnTo>
                    <a:pt x="1267" y="118"/>
                  </a:lnTo>
                  <a:lnTo>
                    <a:pt x="1295" y="133"/>
                  </a:lnTo>
                  <a:lnTo>
                    <a:pt x="1308" y="129"/>
                  </a:lnTo>
                  <a:lnTo>
                    <a:pt x="1316" y="116"/>
                  </a:lnTo>
                  <a:lnTo>
                    <a:pt x="1355" y="123"/>
                  </a:lnTo>
                  <a:lnTo>
                    <a:pt x="1347" y="110"/>
                  </a:lnTo>
                  <a:lnTo>
                    <a:pt x="1351" y="103"/>
                  </a:lnTo>
                  <a:lnTo>
                    <a:pt x="1364" y="110"/>
                  </a:lnTo>
                  <a:lnTo>
                    <a:pt x="1370" y="101"/>
                  </a:lnTo>
                  <a:lnTo>
                    <a:pt x="1351" y="94"/>
                  </a:lnTo>
                  <a:lnTo>
                    <a:pt x="1355" y="92"/>
                  </a:lnTo>
                  <a:lnTo>
                    <a:pt x="1347" y="86"/>
                  </a:lnTo>
                  <a:lnTo>
                    <a:pt x="1342" y="88"/>
                  </a:lnTo>
                  <a:lnTo>
                    <a:pt x="1336" y="79"/>
                  </a:lnTo>
                  <a:lnTo>
                    <a:pt x="1351" y="73"/>
                  </a:lnTo>
                  <a:lnTo>
                    <a:pt x="1336" y="60"/>
                  </a:lnTo>
                  <a:lnTo>
                    <a:pt x="1336" y="58"/>
                  </a:lnTo>
                  <a:lnTo>
                    <a:pt x="1422" y="53"/>
                  </a:lnTo>
                  <a:lnTo>
                    <a:pt x="1429" y="58"/>
                  </a:lnTo>
                  <a:lnTo>
                    <a:pt x="1409" y="53"/>
                  </a:lnTo>
                  <a:lnTo>
                    <a:pt x="1407" y="69"/>
                  </a:lnTo>
                  <a:lnTo>
                    <a:pt x="1420" y="60"/>
                  </a:lnTo>
                  <a:lnTo>
                    <a:pt x="1424" y="69"/>
                  </a:lnTo>
                  <a:lnTo>
                    <a:pt x="1416" y="71"/>
                  </a:lnTo>
                  <a:lnTo>
                    <a:pt x="1429" y="79"/>
                  </a:lnTo>
                  <a:lnTo>
                    <a:pt x="1431" y="49"/>
                  </a:lnTo>
                  <a:lnTo>
                    <a:pt x="1465" y="45"/>
                  </a:lnTo>
                  <a:lnTo>
                    <a:pt x="1476" y="53"/>
                  </a:lnTo>
                  <a:lnTo>
                    <a:pt x="1461" y="53"/>
                  </a:lnTo>
                  <a:lnTo>
                    <a:pt x="1465" y="58"/>
                  </a:lnTo>
                  <a:lnTo>
                    <a:pt x="1500" y="64"/>
                  </a:lnTo>
                  <a:lnTo>
                    <a:pt x="1502" y="73"/>
                  </a:lnTo>
                  <a:lnTo>
                    <a:pt x="1504" y="64"/>
                  </a:lnTo>
                  <a:lnTo>
                    <a:pt x="1532" y="71"/>
                  </a:lnTo>
                  <a:lnTo>
                    <a:pt x="1526" y="73"/>
                  </a:lnTo>
                  <a:lnTo>
                    <a:pt x="1545" y="75"/>
                  </a:lnTo>
                  <a:lnTo>
                    <a:pt x="1582" y="49"/>
                  </a:lnTo>
                  <a:lnTo>
                    <a:pt x="1612" y="45"/>
                  </a:lnTo>
                  <a:lnTo>
                    <a:pt x="1644" y="53"/>
                  </a:lnTo>
                  <a:lnTo>
                    <a:pt x="1664" y="75"/>
                  </a:lnTo>
                  <a:lnTo>
                    <a:pt x="1690" y="84"/>
                  </a:lnTo>
                  <a:lnTo>
                    <a:pt x="1690" y="73"/>
                  </a:lnTo>
                  <a:lnTo>
                    <a:pt x="1698" y="84"/>
                  </a:lnTo>
                  <a:lnTo>
                    <a:pt x="1698" y="71"/>
                  </a:lnTo>
                  <a:lnTo>
                    <a:pt x="1720" y="58"/>
                  </a:lnTo>
                  <a:lnTo>
                    <a:pt x="1735" y="60"/>
                  </a:lnTo>
                  <a:lnTo>
                    <a:pt x="1759" y="53"/>
                  </a:lnTo>
                  <a:lnTo>
                    <a:pt x="1763" y="43"/>
                  </a:lnTo>
                  <a:lnTo>
                    <a:pt x="1787" y="53"/>
                  </a:lnTo>
                  <a:lnTo>
                    <a:pt x="1830" y="60"/>
                  </a:lnTo>
                  <a:lnTo>
                    <a:pt x="1819" y="45"/>
                  </a:lnTo>
                  <a:lnTo>
                    <a:pt x="1804" y="34"/>
                  </a:lnTo>
                  <a:lnTo>
                    <a:pt x="1796" y="36"/>
                  </a:lnTo>
                  <a:lnTo>
                    <a:pt x="1796" y="28"/>
                  </a:lnTo>
                  <a:lnTo>
                    <a:pt x="1785" y="15"/>
                  </a:lnTo>
                  <a:lnTo>
                    <a:pt x="1828" y="15"/>
                  </a:lnTo>
                  <a:lnTo>
                    <a:pt x="1854" y="0"/>
                  </a:lnTo>
                  <a:lnTo>
                    <a:pt x="1865" y="4"/>
                  </a:lnTo>
                  <a:lnTo>
                    <a:pt x="1860" y="0"/>
                  </a:lnTo>
                  <a:lnTo>
                    <a:pt x="1940" y="8"/>
                  </a:lnTo>
                  <a:lnTo>
                    <a:pt x="1944" y="4"/>
                  </a:lnTo>
                  <a:lnTo>
                    <a:pt x="1973" y="15"/>
                  </a:lnTo>
                  <a:lnTo>
                    <a:pt x="2020" y="23"/>
                  </a:lnTo>
                  <a:lnTo>
                    <a:pt x="2035" y="34"/>
                  </a:lnTo>
                  <a:lnTo>
                    <a:pt x="2033" y="28"/>
                  </a:lnTo>
                  <a:lnTo>
                    <a:pt x="2059" y="36"/>
                  </a:lnTo>
                  <a:lnTo>
                    <a:pt x="2078" y="58"/>
                  </a:lnTo>
                  <a:lnTo>
                    <a:pt x="2098" y="69"/>
                  </a:lnTo>
                  <a:lnTo>
                    <a:pt x="2098" y="60"/>
                  </a:lnTo>
                  <a:lnTo>
                    <a:pt x="2104" y="71"/>
                  </a:lnTo>
                  <a:lnTo>
                    <a:pt x="2098" y="53"/>
                  </a:lnTo>
                  <a:lnTo>
                    <a:pt x="2074" y="38"/>
                  </a:lnTo>
                  <a:lnTo>
                    <a:pt x="2083" y="38"/>
                  </a:lnTo>
                  <a:lnTo>
                    <a:pt x="2093" y="43"/>
                  </a:lnTo>
                  <a:lnTo>
                    <a:pt x="2100" y="38"/>
                  </a:lnTo>
                  <a:lnTo>
                    <a:pt x="2093" y="36"/>
                  </a:lnTo>
                  <a:lnTo>
                    <a:pt x="2108" y="34"/>
                  </a:lnTo>
                  <a:lnTo>
                    <a:pt x="2165" y="53"/>
                  </a:lnTo>
                  <a:lnTo>
                    <a:pt x="2158" y="69"/>
                  </a:lnTo>
                  <a:lnTo>
                    <a:pt x="2169" y="79"/>
                  </a:lnTo>
                  <a:lnTo>
                    <a:pt x="2147" y="71"/>
                  </a:lnTo>
                  <a:lnTo>
                    <a:pt x="2165" y="88"/>
                  </a:lnTo>
                  <a:lnTo>
                    <a:pt x="2134" y="86"/>
                  </a:lnTo>
                  <a:lnTo>
                    <a:pt x="2149" y="92"/>
                  </a:lnTo>
                  <a:lnTo>
                    <a:pt x="2152" y="99"/>
                  </a:lnTo>
                  <a:lnTo>
                    <a:pt x="2149" y="103"/>
                  </a:lnTo>
                  <a:lnTo>
                    <a:pt x="2162" y="110"/>
                  </a:lnTo>
                  <a:lnTo>
                    <a:pt x="2156" y="125"/>
                  </a:lnTo>
                  <a:lnTo>
                    <a:pt x="2180" y="138"/>
                  </a:lnTo>
                  <a:lnTo>
                    <a:pt x="2171" y="133"/>
                  </a:lnTo>
                  <a:lnTo>
                    <a:pt x="2173" y="148"/>
                  </a:lnTo>
                  <a:lnTo>
                    <a:pt x="2158" y="133"/>
                  </a:lnTo>
                  <a:lnTo>
                    <a:pt x="2165" y="148"/>
                  </a:lnTo>
                  <a:lnTo>
                    <a:pt x="2134" y="129"/>
                  </a:lnTo>
                  <a:lnTo>
                    <a:pt x="2132" y="133"/>
                  </a:lnTo>
                  <a:lnTo>
                    <a:pt x="2117" y="129"/>
                  </a:lnTo>
                  <a:lnTo>
                    <a:pt x="2100" y="110"/>
                  </a:lnTo>
                  <a:lnTo>
                    <a:pt x="2085" y="110"/>
                  </a:lnTo>
                  <a:lnTo>
                    <a:pt x="2083" y="103"/>
                  </a:lnTo>
                  <a:lnTo>
                    <a:pt x="2083" y="116"/>
                  </a:lnTo>
                  <a:lnTo>
                    <a:pt x="2067" y="118"/>
                  </a:lnTo>
                  <a:lnTo>
                    <a:pt x="2048" y="103"/>
                  </a:lnTo>
                  <a:lnTo>
                    <a:pt x="2039" y="84"/>
                  </a:lnTo>
                  <a:lnTo>
                    <a:pt x="2044" y="94"/>
                  </a:lnTo>
                  <a:lnTo>
                    <a:pt x="2033" y="88"/>
                  </a:lnTo>
                  <a:lnTo>
                    <a:pt x="2035" y="94"/>
                  </a:lnTo>
                  <a:lnTo>
                    <a:pt x="2033" y="99"/>
                  </a:lnTo>
                  <a:lnTo>
                    <a:pt x="2059" y="125"/>
                  </a:lnTo>
                  <a:lnTo>
                    <a:pt x="2059" y="159"/>
                  </a:lnTo>
                  <a:lnTo>
                    <a:pt x="2059" y="172"/>
                  </a:lnTo>
                  <a:lnTo>
                    <a:pt x="2055" y="168"/>
                  </a:lnTo>
                  <a:lnTo>
                    <a:pt x="2044" y="172"/>
                  </a:lnTo>
                  <a:lnTo>
                    <a:pt x="2020" y="159"/>
                  </a:lnTo>
                  <a:lnTo>
                    <a:pt x="2014" y="166"/>
                  </a:lnTo>
                  <a:lnTo>
                    <a:pt x="2026" y="164"/>
                  </a:lnTo>
                  <a:lnTo>
                    <a:pt x="2029" y="168"/>
                  </a:lnTo>
                  <a:lnTo>
                    <a:pt x="2018" y="168"/>
                  </a:lnTo>
                  <a:lnTo>
                    <a:pt x="2024" y="187"/>
                  </a:lnTo>
                  <a:lnTo>
                    <a:pt x="2033" y="172"/>
                  </a:lnTo>
                  <a:lnTo>
                    <a:pt x="2052" y="187"/>
                  </a:lnTo>
                  <a:lnTo>
                    <a:pt x="2059" y="181"/>
                  </a:lnTo>
                  <a:lnTo>
                    <a:pt x="2067" y="189"/>
                  </a:lnTo>
                  <a:lnTo>
                    <a:pt x="2067" y="196"/>
                  </a:lnTo>
                  <a:lnTo>
                    <a:pt x="2074" y="196"/>
                  </a:lnTo>
                  <a:lnTo>
                    <a:pt x="2083" y="209"/>
                  </a:lnTo>
                  <a:lnTo>
                    <a:pt x="2078" y="209"/>
                  </a:lnTo>
                  <a:lnTo>
                    <a:pt x="2078" y="213"/>
                  </a:lnTo>
                  <a:lnTo>
                    <a:pt x="2085" y="213"/>
                  </a:lnTo>
                  <a:lnTo>
                    <a:pt x="2117" y="239"/>
                  </a:lnTo>
                  <a:lnTo>
                    <a:pt x="2119" y="261"/>
                  </a:lnTo>
                  <a:lnTo>
                    <a:pt x="2087" y="248"/>
                  </a:lnTo>
                  <a:lnTo>
                    <a:pt x="2091" y="259"/>
                  </a:lnTo>
                  <a:lnTo>
                    <a:pt x="2070" y="278"/>
                  </a:lnTo>
                  <a:lnTo>
                    <a:pt x="2067" y="297"/>
                  </a:lnTo>
                  <a:lnTo>
                    <a:pt x="2059" y="304"/>
                  </a:lnTo>
                  <a:lnTo>
                    <a:pt x="2055" y="300"/>
                  </a:lnTo>
                  <a:lnTo>
                    <a:pt x="2055" y="317"/>
                  </a:lnTo>
                  <a:lnTo>
                    <a:pt x="2052" y="317"/>
                  </a:lnTo>
                  <a:lnTo>
                    <a:pt x="2055" y="319"/>
                  </a:lnTo>
                  <a:lnTo>
                    <a:pt x="2052" y="321"/>
                  </a:lnTo>
                  <a:lnTo>
                    <a:pt x="2055" y="332"/>
                  </a:lnTo>
                  <a:lnTo>
                    <a:pt x="2048" y="332"/>
                  </a:lnTo>
                  <a:lnTo>
                    <a:pt x="2052" y="334"/>
                  </a:lnTo>
                  <a:lnTo>
                    <a:pt x="2044" y="362"/>
                  </a:lnTo>
                  <a:lnTo>
                    <a:pt x="2048" y="379"/>
                  </a:lnTo>
                  <a:lnTo>
                    <a:pt x="2039" y="377"/>
                  </a:lnTo>
                  <a:lnTo>
                    <a:pt x="2018" y="358"/>
                  </a:lnTo>
                  <a:lnTo>
                    <a:pt x="2005" y="362"/>
                  </a:lnTo>
                  <a:lnTo>
                    <a:pt x="1994" y="373"/>
                  </a:lnTo>
                  <a:lnTo>
                    <a:pt x="1990" y="403"/>
                  </a:lnTo>
                  <a:lnTo>
                    <a:pt x="1979" y="373"/>
                  </a:lnTo>
                  <a:lnTo>
                    <a:pt x="1973" y="403"/>
                  </a:lnTo>
                  <a:lnTo>
                    <a:pt x="1964" y="399"/>
                  </a:lnTo>
                  <a:lnTo>
                    <a:pt x="1953" y="403"/>
                  </a:lnTo>
                  <a:lnTo>
                    <a:pt x="1949" y="407"/>
                  </a:lnTo>
                  <a:lnTo>
                    <a:pt x="1964" y="431"/>
                  </a:lnTo>
                  <a:lnTo>
                    <a:pt x="1955" y="431"/>
                  </a:lnTo>
                  <a:lnTo>
                    <a:pt x="1960" y="464"/>
                  </a:lnTo>
                  <a:lnTo>
                    <a:pt x="1968" y="479"/>
                  </a:lnTo>
                  <a:lnTo>
                    <a:pt x="1975" y="481"/>
                  </a:lnTo>
                  <a:lnTo>
                    <a:pt x="1973" y="477"/>
                  </a:lnTo>
                  <a:lnTo>
                    <a:pt x="1988" y="479"/>
                  </a:lnTo>
                  <a:lnTo>
                    <a:pt x="1994" y="509"/>
                  </a:lnTo>
                  <a:lnTo>
                    <a:pt x="1994" y="515"/>
                  </a:lnTo>
                  <a:lnTo>
                    <a:pt x="2003" y="513"/>
                  </a:lnTo>
                  <a:lnTo>
                    <a:pt x="2011" y="531"/>
                  </a:lnTo>
                  <a:lnTo>
                    <a:pt x="2009" y="537"/>
                  </a:lnTo>
                  <a:lnTo>
                    <a:pt x="2003" y="533"/>
                  </a:lnTo>
                  <a:lnTo>
                    <a:pt x="2003" y="518"/>
                  </a:lnTo>
                  <a:lnTo>
                    <a:pt x="1994" y="524"/>
                  </a:lnTo>
                  <a:lnTo>
                    <a:pt x="2003" y="567"/>
                  </a:lnTo>
                  <a:lnTo>
                    <a:pt x="2014" y="576"/>
                  </a:lnTo>
                  <a:lnTo>
                    <a:pt x="2011" y="589"/>
                  </a:lnTo>
                  <a:lnTo>
                    <a:pt x="2003" y="587"/>
                  </a:lnTo>
                  <a:lnTo>
                    <a:pt x="1994" y="602"/>
                  </a:lnTo>
                  <a:lnTo>
                    <a:pt x="1994" y="619"/>
                  </a:lnTo>
                  <a:lnTo>
                    <a:pt x="2009" y="636"/>
                  </a:lnTo>
                  <a:lnTo>
                    <a:pt x="1998" y="636"/>
                  </a:lnTo>
                  <a:lnTo>
                    <a:pt x="1990" y="643"/>
                  </a:lnTo>
                  <a:lnTo>
                    <a:pt x="1983" y="641"/>
                  </a:lnTo>
                  <a:lnTo>
                    <a:pt x="1994" y="675"/>
                  </a:lnTo>
                  <a:lnTo>
                    <a:pt x="1994" y="690"/>
                  </a:lnTo>
                  <a:lnTo>
                    <a:pt x="1983" y="712"/>
                  </a:lnTo>
                  <a:lnTo>
                    <a:pt x="1914" y="582"/>
                  </a:lnTo>
                  <a:lnTo>
                    <a:pt x="1895" y="537"/>
                  </a:lnTo>
                  <a:lnTo>
                    <a:pt x="1901" y="513"/>
                  </a:lnTo>
                  <a:lnTo>
                    <a:pt x="1893" y="494"/>
                  </a:lnTo>
                  <a:lnTo>
                    <a:pt x="1901" y="496"/>
                  </a:lnTo>
                  <a:lnTo>
                    <a:pt x="1901" y="487"/>
                  </a:lnTo>
                  <a:lnTo>
                    <a:pt x="1908" y="483"/>
                  </a:lnTo>
                  <a:lnTo>
                    <a:pt x="1919" y="423"/>
                  </a:lnTo>
                  <a:lnTo>
                    <a:pt x="1919" y="388"/>
                  </a:lnTo>
                  <a:lnTo>
                    <a:pt x="1938" y="369"/>
                  </a:lnTo>
                  <a:lnTo>
                    <a:pt x="1929" y="364"/>
                  </a:lnTo>
                  <a:lnTo>
                    <a:pt x="1932" y="356"/>
                  </a:lnTo>
                  <a:lnTo>
                    <a:pt x="1914" y="317"/>
                  </a:lnTo>
                  <a:lnTo>
                    <a:pt x="1925" y="308"/>
                  </a:lnTo>
                  <a:lnTo>
                    <a:pt x="1929" y="306"/>
                  </a:lnTo>
                  <a:lnTo>
                    <a:pt x="1910" y="300"/>
                  </a:lnTo>
                  <a:lnTo>
                    <a:pt x="1899" y="308"/>
                  </a:lnTo>
                  <a:lnTo>
                    <a:pt x="1910" y="338"/>
                  </a:lnTo>
                  <a:lnTo>
                    <a:pt x="1916" y="343"/>
                  </a:lnTo>
                  <a:lnTo>
                    <a:pt x="1914" y="349"/>
                  </a:lnTo>
                  <a:lnTo>
                    <a:pt x="1908" y="343"/>
                  </a:lnTo>
                  <a:lnTo>
                    <a:pt x="1903" y="347"/>
                  </a:lnTo>
                  <a:lnTo>
                    <a:pt x="1895" y="384"/>
                  </a:lnTo>
                  <a:lnTo>
                    <a:pt x="1888" y="388"/>
                  </a:lnTo>
                  <a:lnTo>
                    <a:pt x="1884" y="377"/>
                  </a:lnTo>
                  <a:lnTo>
                    <a:pt x="1880" y="379"/>
                  </a:lnTo>
                  <a:lnTo>
                    <a:pt x="1869" y="343"/>
                  </a:lnTo>
                  <a:lnTo>
                    <a:pt x="1860" y="356"/>
                  </a:lnTo>
                  <a:lnTo>
                    <a:pt x="1849" y="349"/>
                  </a:lnTo>
                  <a:lnTo>
                    <a:pt x="1839" y="362"/>
                  </a:lnTo>
                  <a:lnTo>
                    <a:pt x="1830" y="358"/>
                  </a:lnTo>
                  <a:lnTo>
                    <a:pt x="1819" y="436"/>
                  </a:lnTo>
                  <a:lnTo>
                    <a:pt x="1824" y="451"/>
                  </a:lnTo>
                  <a:lnTo>
                    <a:pt x="1837" y="446"/>
                  </a:lnTo>
                  <a:lnTo>
                    <a:pt x="1843" y="457"/>
                  </a:lnTo>
                  <a:lnTo>
                    <a:pt x="1819" y="459"/>
                  </a:lnTo>
                  <a:lnTo>
                    <a:pt x="1815" y="472"/>
                  </a:lnTo>
                  <a:lnTo>
                    <a:pt x="1808" y="468"/>
                  </a:lnTo>
                  <a:lnTo>
                    <a:pt x="1793" y="479"/>
                  </a:lnTo>
                  <a:lnTo>
                    <a:pt x="1787" y="472"/>
                  </a:lnTo>
                  <a:lnTo>
                    <a:pt x="1804" y="464"/>
                  </a:lnTo>
                  <a:lnTo>
                    <a:pt x="1785" y="457"/>
                  </a:lnTo>
                  <a:lnTo>
                    <a:pt x="1778" y="457"/>
                  </a:lnTo>
                  <a:lnTo>
                    <a:pt x="1778" y="464"/>
                  </a:lnTo>
                  <a:lnTo>
                    <a:pt x="1755" y="457"/>
                  </a:lnTo>
                  <a:lnTo>
                    <a:pt x="1750" y="464"/>
                  </a:lnTo>
                  <a:lnTo>
                    <a:pt x="1750" y="472"/>
                  </a:lnTo>
                  <a:lnTo>
                    <a:pt x="1748" y="477"/>
                  </a:lnTo>
                  <a:lnTo>
                    <a:pt x="1739" y="472"/>
                  </a:lnTo>
                  <a:lnTo>
                    <a:pt x="1735" y="479"/>
                  </a:lnTo>
                  <a:lnTo>
                    <a:pt x="1716" y="477"/>
                  </a:lnTo>
                  <a:lnTo>
                    <a:pt x="1714" y="483"/>
                  </a:lnTo>
                  <a:lnTo>
                    <a:pt x="1707" y="479"/>
                  </a:lnTo>
                  <a:lnTo>
                    <a:pt x="1668" y="487"/>
                  </a:lnTo>
                  <a:lnTo>
                    <a:pt x="1636" y="582"/>
                  </a:lnTo>
                  <a:lnTo>
                    <a:pt x="1636" y="589"/>
                  </a:lnTo>
                  <a:lnTo>
                    <a:pt x="1644" y="591"/>
                  </a:lnTo>
                  <a:lnTo>
                    <a:pt x="1634" y="595"/>
                  </a:lnTo>
                  <a:lnTo>
                    <a:pt x="1616" y="651"/>
                  </a:lnTo>
                  <a:lnTo>
                    <a:pt x="1627" y="654"/>
                  </a:lnTo>
                  <a:lnTo>
                    <a:pt x="1644" y="651"/>
                  </a:lnTo>
                  <a:lnTo>
                    <a:pt x="1649" y="675"/>
                  </a:lnTo>
                  <a:lnTo>
                    <a:pt x="1655" y="669"/>
                  </a:lnTo>
                  <a:lnTo>
                    <a:pt x="1651" y="662"/>
                  </a:lnTo>
                  <a:lnTo>
                    <a:pt x="1660" y="656"/>
                  </a:lnTo>
                  <a:lnTo>
                    <a:pt x="1662" y="677"/>
                  </a:lnTo>
                  <a:lnTo>
                    <a:pt x="1675" y="667"/>
                  </a:lnTo>
                  <a:lnTo>
                    <a:pt x="1677" y="677"/>
                  </a:lnTo>
                  <a:lnTo>
                    <a:pt x="1679" y="669"/>
                  </a:lnTo>
                  <a:lnTo>
                    <a:pt x="1675" y="654"/>
                  </a:lnTo>
                  <a:lnTo>
                    <a:pt x="1692" y="651"/>
                  </a:lnTo>
                  <a:lnTo>
                    <a:pt x="1726" y="677"/>
                  </a:lnTo>
                  <a:lnTo>
                    <a:pt x="1726" y="684"/>
                  </a:lnTo>
                  <a:lnTo>
                    <a:pt x="1720" y="684"/>
                  </a:lnTo>
                  <a:lnTo>
                    <a:pt x="1739" y="708"/>
                  </a:lnTo>
                  <a:lnTo>
                    <a:pt x="1735" y="731"/>
                  </a:lnTo>
                  <a:lnTo>
                    <a:pt x="1755" y="815"/>
                  </a:lnTo>
                  <a:lnTo>
                    <a:pt x="1744" y="852"/>
                  </a:lnTo>
                  <a:lnTo>
                    <a:pt x="1744" y="882"/>
                  </a:lnTo>
                  <a:lnTo>
                    <a:pt x="1722" y="945"/>
                  </a:lnTo>
                  <a:lnTo>
                    <a:pt x="1705" y="967"/>
                  </a:lnTo>
                  <a:lnTo>
                    <a:pt x="1692" y="971"/>
                  </a:lnTo>
                  <a:lnTo>
                    <a:pt x="1679" y="967"/>
                  </a:lnTo>
                  <a:lnTo>
                    <a:pt x="1677" y="960"/>
                  </a:lnTo>
                  <a:lnTo>
                    <a:pt x="1668" y="960"/>
                  </a:lnTo>
                  <a:lnTo>
                    <a:pt x="1655" y="986"/>
                  </a:lnTo>
                  <a:lnTo>
                    <a:pt x="1655" y="982"/>
                  </a:lnTo>
                  <a:lnTo>
                    <a:pt x="1655" y="975"/>
                  </a:lnTo>
                  <a:lnTo>
                    <a:pt x="1660" y="956"/>
                  </a:lnTo>
                  <a:lnTo>
                    <a:pt x="1644" y="921"/>
                  </a:lnTo>
                  <a:lnTo>
                    <a:pt x="1655" y="906"/>
                  </a:lnTo>
                  <a:lnTo>
                    <a:pt x="1675" y="915"/>
                  </a:lnTo>
                  <a:lnTo>
                    <a:pt x="1675" y="861"/>
                  </a:lnTo>
                  <a:lnTo>
                    <a:pt x="1677" y="856"/>
                  </a:lnTo>
                  <a:lnTo>
                    <a:pt x="1677" y="841"/>
                  </a:lnTo>
                  <a:lnTo>
                    <a:pt x="1677" y="826"/>
                  </a:lnTo>
                  <a:lnTo>
                    <a:pt x="1664" y="831"/>
                  </a:lnTo>
                  <a:lnTo>
                    <a:pt x="1649" y="837"/>
                  </a:lnTo>
                  <a:lnTo>
                    <a:pt x="1644" y="846"/>
                  </a:lnTo>
                  <a:lnTo>
                    <a:pt x="1627" y="850"/>
                  </a:lnTo>
                  <a:lnTo>
                    <a:pt x="1621" y="850"/>
                  </a:lnTo>
                  <a:lnTo>
                    <a:pt x="1606" y="820"/>
                  </a:lnTo>
                  <a:lnTo>
                    <a:pt x="1582" y="807"/>
                  </a:lnTo>
                  <a:lnTo>
                    <a:pt x="1571" y="807"/>
                  </a:lnTo>
                  <a:lnTo>
                    <a:pt x="1556" y="807"/>
                  </a:lnTo>
                  <a:lnTo>
                    <a:pt x="1552" y="800"/>
                  </a:lnTo>
                  <a:lnTo>
                    <a:pt x="1545" y="792"/>
                  </a:lnTo>
                  <a:lnTo>
                    <a:pt x="1534" y="772"/>
                  </a:lnTo>
                  <a:lnTo>
                    <a:pt x="1524" y="762"/>
                  </a:lnTo>
                  <a:lnTo>
                    <a:pt x="1496" y="720"/>
                  </a:lnTo>
                  <a:lnTo>
                    <a:pt x="1489" y="716"/>
                  </a:lnTo>
                  <a:lnTo>
                    <a:pt x="1480" y="716"/>
                  </a:lnTo>
                  <a:lnTo>
                    <a:pt x="1461" y="712"/>
                  </a:lnTo>
                  <a:lnTo>
                    <a:pt x="1452" y="708"/>
                  </a:lnTo>
                  <a:lnTo>
                    <a:pt x="1444" y="712"/>
                  </a:lnTo>
                  <a:lnTo>
                    <a:pt x="1416" y="723"/>
                  </a:lnTo>
                  <a:lnTo>
                    <a:pt x="1409" y="738"/>
                  </a:lnTo>
                  <a:lnTo>
                    <a:pt x="1416" y="738"/>
                  </a:lnTo>
                  <a:lnTo>
                    <a:pt x="1422" y="746"/>
                  </a:lnTo>
                  <a:lnTo>
                    <a:pt x="1424" y="751"/>
                  </a:lnTo>
                  <a:lnTo>
                    <a:pt x="1420" y="781"/>
                  </a:lnTo>
                  <a:lnTo>
                    <a:pt x="1416" y="800"/>
                  </a:lnTo>
                  <a:lnTo>
                    <a:pt x="1422" y="811"/>
                  </a:lnTo>
                  <a:lnTo>
                    <a:pt x="1407" y="826"/>
                  </a:lnTo>
                  <a:lnTo>
                    <a:pt x="1394" y="822"/>
                  </a:lnTo>
                  <a:lnTo>
                    <a:pt x="1388" y="822"/>
                  </a:lnTo>
                  <a:lnTo>
                    <a:pt x="1370" y="822"/>
                  </a:lnTo>
                  <a:lnTo>
                    <a:pt x="1342" y="813"/>
                  </a:lnTo>
                  <a:lnTo>
                    <a:pt x="1332" y="835"/>
                  </a:lnTo>
                  <a:lnTo>
                    <a:pt x="1299" y="846"/>
                  </a:lnTo>
                  <a:lnTo>
                    <a:pt x="1278" y="846"/>
                  </a:lnTo>
                  <a:lnTo>
                    <a:pt x="1267" y="846"/>
                  </a:lnTo>
                  <a:lnTo>
                    <a:pt x="1256" y="841"/>
                  </a:lnTo>
                  <a:lnTo>
                    <a:pt x="1252" y="835"/>
                  </a:lnTo>
                  <a:lnTo>
                    <a:pt x="1226" y="826"/>
                  </a:lnTo>
                  <a:lnTo>
                    <a:pt x="1213" y="822"/>
                  </a:lnTo>
                  <a:lnTo>
                    <a:pt x="1185" y="831"/>
                  </a:lnTo>
                  <a:lnTo>
                    <a:pt x="1170" y="831"/>
                  </a:lnTo>
                  <a:lnTo>
                    <a:pt x="1148" y="807"/>
                  </a:lnTo>
                  <a:lnTo>
                    <a:pt x="1101" y="796"/>
                  </a:lnTo>
                  <a:lnTo>
                    <a:pt x="1101" y="800"/>
                  </a:lnTo>
                  <a:lnTo>
                    <a:pt x="1092" y="811"/>
                  </a:lnTo>
                  <a:lnTo>
                    <a:pt x="1090" y="813"/>
                  </a:lnTo>
                  <a:lnTo>
                    <a:pt x="1096" y="828"/>
                  </a:lnTo>
                  <a:lnTo>
                    <a:pt x="1101" y="837"/>
                  </a:lnTo>
                  <a:lnTo>
                    <a:pt x="1105" y="846"/>
                  </a:lnTo>
                  <a:lnTo>
                    <a:pt x="1077" y="850"/>
                  </a:lnTo>
                  <a:lnTo>
                    <a:pt x="1057" y="850"/>
                  </a:lnTo>
                  <a:lnTo>
                    <a:pt x="1042" y="846"/>
                  </a:lnTo>
                  <a:lnTo>
                    <a:pt x="1042" y="837"/>
                  </a:lnTo>
                  <a:lnTo>
                    <a:pt x="1023" y="841"/>
                  </a:lnTo>
                  <a:lnTo>
                    <a:pt x="1016" y="835"/>
                  </a:lnTo>
                  <a:lnTo>
                    <a:pt x="997" y="837"/>
                  </a:lnTo>
                  <a:lnTo>
                    <a:pt x="988" y="844"/>
                  </a:lnTo>
                  <a:lnTo>
                    <a:pt x="986" y="846"/>
                  </a:lnTo>
                  <a:lnTo>
                    <a:pt x="978" y="856"/>
                  </a:lnTo>
                  <a:lnTo>
                    <a:pt x="978" y="861"/>
                  </a:lnTo>
                  <a:lnTo>
                    <a:pt x="956" y="872"/>
                  </a:lnTo>
                  <a:lnTo>
                    <a:pt x="952" y="876"/>
                  </a:lnTo>
                  <a:lnTo>
                    <a:pt x="943" y="880"/>
                  </a:lnTo>
                  <a:lnTo>
                    <a:pt x="915" y="874"/>
                  </a:lnTo>
                  <a:lnTo>
                    <a:pt x="887" y="861"/>
                  </a:lnTo>
                  <a:lnTo>
                    <a:pt x="844" y="856"/>
                  </a:lnTo>
                  <a:lnTo>
                    <a:pt x="811" y="822"/>
                  </a:lnTo>
                  <a:lnTo>
                    <a:pt x="757" y="787"/>
                  </a:lnTo>
                  <a:lnTo>
                    <a:pt x="710" y="796"/>
                  </a:lnTo>
                  <a:lnTo>
                    <a:pt x="678" y="766"/>
                  </a:lnTo>
                  <a:lnTo>
                    <a:pt x="632" y="779"/>
                  </a:lnTo>
                  <a:lnTo>
                    <a:pt x="587" y="777"/>
                  </a:lnTo>
                  <a:lnTo>
                    <a:pt x="518" y="787"/>
                  </a:lnTo>
                  <a:lnTo>
                    <a:pt x="507" y="850"/>
                  </a:lnTo>
                  <a:lnTo>
                    <a:pt x="518" y="876"/>
                  </a:lnTo>
                  <a:lnTo>
                    <a:pt x="419" y="865"/>
                  </a:lnTo>
                  <a:lnTo>
                    <a:pt x="380" y="856"/>
                  </a:lnTo>
                  <a:lnTo>
                    <a:pt x="347" y="861"/>
                  </a:lnTo>
                  <a:lnTo>
                    <a:pt x="328" y="917"/>
                  </a:lnTo>
                  <a:lnTo>
                    <a:pt x="343" y="917"/>
                  </a:lnTo>
                  <a:lnTo>
                    <a:pt x="362" y="971"/>
                  </a:lnTo>
                  <a:lnTo>
                    <a:pt x="378" y="971"/>
                  </a:lnTo>
                  <a:lnTo>
                    <a:pt x="365" y="982"/>
                  </a:lnTo>
                  <a:lnTo>
                    <a:pt x="350" y="986"/>
                  </a:lnTo>
                  <a:lnTo>
                    <a:pt x="339" y="1010"/>
                  </a:lnTo>
                  <a:lnTo>
                    <a:pt x="350" y="1010"/>
                  </a:lnTo>
                  <a:lnTo>
                    <a:pt x="343" y="1012"/>
                  </a:lnTo>
                  <a:lnTo>
                    <a:pt x="354" y="1021"/>
                  </a:lnTo>
                  <a:lnTo>
                    <a:pt x="356" y="1025"/>
                  </a:lnTo>
                  <a:lnTo>
                    <a:pt x="356" y="1040"/>
                  </a:lnTo>
                  <a:lnTo>
                    <a:pt x="365" y="1051"/>
                  </a:lnTo>
                  <a:lnTo>
                    <a:pt x="380" y="1070"/>
                  </a:lnTo>
                  <a:lnTo>
                    <a:pt x="356" y="1075"/>
                  </a:lnTo>
                  <a:lnTo>
                    <a:pt x="343" y="1062"/>
                  </a:lnTo>
                  <a:lnTo>
                    <a:pt x="298" y="1036"/>
                  </a:lnTo>
                  <a:lnTo>
                    <a:pt x="244" y="1036"/>
                  </a:lnTo>
                  <a:lnTo>
                    <a:pt x="229" y="1025"/>
                  </a:lnTo>
                  <a:lnTo>
                    <a:pt x="214" y="1014"/>
                  </a:lnTo>
                  <a:lnTo>
                    <a:pt x="194" y="1003"/>
                  </a:lnTo>
                  <a:lnTo>
                    <a:pt x="194" y="997"/>
                  </a:lnTo>
                  <a:lnTo>
                    <a:pt x="214" y="971"/>
                  </a:lnTo>
                  <a:lnTo>
                    <a:pt x="224" y="971"/>
                  </a:lnTo>
                  <a:lnTo>
                    <a:pt x="229" y="956"/>
                  </a:lnTo>
                  <a:lnTo>
                    <a:pt x="220" y="951"/>
                  </a:lnTo>
                  <a:lnTo>
                    <a:pt x="205" y="960"/>
                  </a:lnTo>
                  <a:lnTo>
                    <a:pt x="201" y="951"/>
                  </a:lnTo>
                  <a:lnTo>
                    <a:pt x="235" y="939"/>
                  </a:lnTo>
                  <a:lnTo>
                    <a:pt x="224" y="906"/>
                  </a:lnTo>
                  <a:lnTo>
                    <a:pt x="201" y="906"/>
                  </a:lnTo>
                  <a:lnTo>
                    <a:pt x="173" y="887"/>
                  </a:lnTo>
                  <a:lnTo>
                    <a:pt x="136" y="882"/>
                  </a:lnTo>
                  <a:lnTo>
                    <a:pt x="101" y="874"/>
                  </a:lnTo>
                  <a:lnTo>
                    <a:pt x="104" y="856"/>
                  </a:lnTo>
                  <a:lnTo>
                    <a:pt x="95" y="837"/>
                  </a:lnTo>
                  <a:lnTo>
                    <a:pt x="101" y="835"/>
                  </a:lnTo>
                  <a:lnTo>
                    <a:pt x="114" y="841"/>
                  </a:lnTo>
                  <a:lnTo>
                    <a:pt x="108" y="820"/>
                  </a:lnTo>
                  <a:lnTo>
                    <a:pt x="95" y="807"/>
                  </a:lnTo>
                  <a:lnTo>
                    <a:pt x="84" y="772"/>
                  </a:lnTo>
                  <a:lnTo>
                    <a:pt x="43" y="766"/>
                  </a:lnTo>
                  <a:lnTo>
                    <a:pt x="50" y="738"/>
                  </a:lnTo>
                  <a:lnTo>
                    <a:pt x="37" y="723"/>
                  </a:lnTo>
                  <a:lnTo>
                    <a:pt x="24" y="720"/>
                  </a:lnTo>
                  <a:lnTo>
                    <a:pt x="15" y="705"/>
                  </a:lnTo>
                  <a:lnTo>
                    <a:pt x="15" y="697"/>
                  </a:lnTo>
                  <a:lnTo>
                    <a:pt x="9" y="684"/>
                  </a:lnTo>
                  <a:lnTo>
                    <a:pt x="13" y="682"/>
                  </a:lnTo>
                  <a:lnTo>
                    <a:pt x="21" y="682"/>
                  </a:lnTo>
                  <a:lnTo>
                    <a:pt x="21" y="675"/>
                  </a:lnTo>
                  <a:lnTo>
                    <a:pt x="37" y="669"/>
                  </a:lnTo>
                  <a:lnTo>
                    <a:pt x="54" y="671"/>
                  </a:lnTo>
                  <a:lnTo>
                    <a:pt x="45" y="662"/>
                  </a:lnTo>
                  <a:lnTo>
                    <a:pt x="34" y="662"/>
                  </a:lnTo>
                  <a:lnTo>
                    <a:pt x="28" y="647"/>
                  </a:lnTo>
                  <a:lnTo>
                    <a:pt x="19" y="654"/>
                  </a:lnTo>
                  <a:lnTo>
                    <a:pt x="50" y="617"/>
                  </a:lnTo>
                  <a:lnTo>
                    <a:pt x="69" y="587"/>
                  </a:lnTo>
                  <a:lnTo>
                    <a:pt x="58" y="578"/>
                  </a:lnTo>
                  <a:lnTo>
                    <a:pt x="54" y="576"/>
                  </a:lnTo>
                  <a:lnTo>
                    <a:pt x="39" y="567"/>
                  </a:lnTo>
                  <a:lnTo>
                    <a:pt x="43" y="552"/>
                  </a:lnTo>
                  <a:lnTo>
                    <a:pt x="37" y="548"/>
                  </a:lnTo>
                  <a:lnTo>
                    <a:pt x="37" y="541"/>
                  </a:lnTo>
                  <a:lnTo>
                    <a:pt x="37" y="537"/>
                  </a:lnTo>
                  <a:lnTo>
                    <a:pt x="30" y="537"/>
                  </a:lnTo>
                  <a:lnTo>
                    <a:pt x="30" y="531"/>
                  </a:lnTo>
                  <a:lnTo>
                    <a:pt x="30" y="526"/>
                  </a:lnTo>
                  <a:lnTo>
                    <a:pt x="34" y="509"/>
                  </a:lnTo>
                  <a:lnTo>
                    <a:pt x="15" y="477"/>
                  </a:lnTo>
                  <a:lnTo>
                    <a:pt x="21" y="459"/>
                  </a:lnTo>
                  <a:lnTo>
                    <a:pt x="15" y="453"/>
                  </a:lnTo>
                  <a:lnTo>
                    <a:pt x="6" y="446"/>
                  </a:lnTo>
                  <a:lnTo>
                    <a:pt x="4" y="438"/>
                  </a:lnTo>
                  <a:lnTo>
                    <a:pt x="0" y="431"/>
                  </a:lnTo>
                  <a:lnTo>
                    <a:pt x="15" y="414"/>
                  </a:lnTo>
                  <a:close/>
                </a:path>
              </a:pathLst>
            </a:custGeom>
            <a:grpFill/>
            <a:ln w="11176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5" name="Freeform 68"/>
            <p:cNvSpPr>
              <a:spLocks noChangeAspect="1"/>
            </p:cNvSpPr>
            <p:nvPr/>
          </p:nvSpPr>
          <p:spPr bwMode="auto">
            <a:xfrm>
              <a:off x="2978" y="1740"/>
              <a:ext cx="299" cy="152"/>
            </a:xfrm>
            <a:custGeom>
              <a:avLst/>
              <a:gdLst>
                <a:gd name="T0" fmla="*/ 1476 w 272"/>
                <a:gd name="T1" fmla="*/ 146 h 149"/>
                <a:gd name="T2" fmla="*/ 1448 w 272"/>
                <a:gd name="T3" fmla="*/ 152 h 149"/>
                <a:gd name="T4" fmla="*/ 1365 w 272"/>
                <a:gd name="T5" fmla="*/ 180 h 149"/>
                <a:gd name="T6" fmla="*/ 1590 w 272"/>
                <a:gd name="T7" fmla="*/ 192 h 149"/>
                <a:gd name="T8" fmla="*/ 1476 w 272"/>
                <a:gd name="T9" fmla="*/ 192 h 149"/>
                <a:gd name="T10" fmla="*/ 1294 w 272"/>
                <a:gd name="T11" fmla="*/ 216 h 149"/>
                <a:gd name="T12" fmla="*/ 1245 w 272"/>
                <a:gd name="T13" fmla="*/ 199 h 149"/>
                <a:gd name="T14" fmla="*/ 1133 w 272"/>
                <a:gd name="T15" fmla="*/ 184 h 149"/>
                <a:gd name="T16" fmla="*/ 1245 w 272"/>
                <a:gd name="T17" fmla="*/ 168 h 149"/>
                <a:gd name="T18" fmla="*/ 1048 w 272"/>
                <a:gd name="T19" fmla="*/ 159 h 149"/>
                <a:gd name="T20" fmla="*/ 1048 w 272"/>
                <a:gd name="T21" fmla="*/ 152 h 149"/>
                <a:gd name="T22" fmla="*/ 1036 w 272"/>
                <a:gd name="T23" fmla="*/ 137 h 149"/>
                <a:gd name="T24" fmla="*/ 1031 w 272"/>
                <a:gd name="T25" fmla="*/ 143 h 149"/>
                <a:gd name="T26" fmla="*/ 938 w 272"/>
                <a:gd name="T27" fmla="*/ 146 h 149"/>
                <a:gd name="T28" fmla="*/ 824 w 272"/>
                <a:gd name="T29" fmla="*/ 184 h 149"/>
                <a:gd name="T30" fmla="*/ 667 w 272"/>
                <a:gd name="T31" fmla="*/ 184 h 149"/>
                <a:gd name="T32" fmla="*/ 750 w 272"/>
                <a:gd name="T33" fmla="*/ 159 h 149"/>
                <a:gd name="T34" fmla="*/ 795 w 272"/>
                <a:gd name="T35" fmla="*/ 143 h 149"/>
                <a:gd name="T36" fmla="*/ 718 w 272"/>
                <a:gd name="T37" fmla="*/ 113 h 149"/>
                <a:gd name="T38" fmla="*/ 502 w 272"/>
                <a:gd name="T39" fmla="*/ 105 h 149"/>
                <a:gd name="T40" fmla="*/ 321 w 272"/>
                <a:gd name="T41" fmla="*/ 117 h 149"/>
                <a:gd name="T42" fmla="*/ 75 w 272"/>
                <a:gd name="T43" fmla="*/ 109 h 149"/>
                <a:gd name="T44" fmla="*/ 51 w 272"/>
                <a:gd name="T45" fmla="*/ 70 h 149"/>
                <a:gd name="T46" fmla="*/ 51 w 272"/>
                <a:gd name="T47" fmla="*/ 57 h 149"/>
                <a:gd name="T48" fmla="*/ 159 w 272"/>
                <a:gd name="T49" fmla="*/ 0 h 149"/>
                <a:gd name="T50" fmla="*/ 236 w 272"/>
                <a:gd name="T51" fmla="*/ 4 h 149"/>
                <a:gd name="T52" fmla="*/ 645 w 272"/>
                <a:gd name="T53" fmla="*/ 6 h 149"/>
                <a:gd name="T54" fmla="*/ 838 w 272"/>
                <a:gd name="T55" fmla="*/ 8 h 149"/>
                <a:gd name="T56" fmla="*/ 961 w 272"/>
                <a:gd name="T57" fmla="*/ 4 h 149"/>
                <a:gd name="T58" fmla="*/ 1476 w 272"/>
                <a:gd name="T59" fmla="*/ 15 h 149"/>
                <a:gd name="T60" fmla="*/ 1846 w 272"/>
                <a:gd name="T61" fmla="*/ 55 h 149"/>
                <a:gd name="T62" fmla="*/ 1660 w 272"/>
                <a:gd name="T63" fmla="*/ 117 h 14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72"/>
                <a:gd name="T97" fmla="*/ 0 h 149"/>
                <a:gd name="T98" fmla="*/ 272 w 272"/>
                <a:gd name="T99" fmla="*/ 149 h 14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72" h="149">
                  <a:moveTo>
                    <a:pt x="242" y="88"/>
                  </a:moveTo>
                  <a:lnTo>
                    <a:pt x="210" y="101"/>
                  </a:lnTo>
                  <a:lnTo>
                    <a:pt x="212" y="116"/>
                  </a:lnTo>
                  <a:lnTo>
                    <a:pt x="205" y="105"/>
                  </a:lnTo>
                  <a:lnTo>
                    <a:pt x="190" y="114"/>
                  </a:lnTo>
                  <a:lnTo>
                    <a:pt x="192" y="123"/>
                  </a:lnTo>
                  <a:lnTo>
                    <a:pt x="221" y="129"/>
                  </a:lnTo>
                  <a:lnTo>
                    <a:pt x="225" y="131"/>
                  </a:lnTo>
                  <a:lnTo>
                    <a:pt x="216" y="131"/>
                  </a:lnTo>
                  <a:lnTo>
                    <a:pt x="210" y="131"/>
                  </a:lnTo>
                  <a:lnTo>
                    <a:pt x="199" y="138"/>
                  </a:lnTo>
                  <a:lnTo>
                    <a:pt x="184" y="149"/>
                  </a:lnTo>
                  <a:lnTo>
                    <a:pt x="175" y="144"/>
                  </a:lnTo>
                  <a:lnTo>
                    <a:pt x="177" y="136"/>
                  </a:lnTo>
                  <a:lnTo>
                    <a:pt x="167" y="129"/>
                  </a:lnTo>
                  <a:lnTo>
                    <a:pt x="160" y="125"/>
                  </a:lnTo>
                  <a:lnTo>
                    <a:pt x="167" y="123"/>
                  </a:lnTo>
                  <a:lnTo>
                    <a:pt x="177" y="116"/>
                  </a:lnTo>
                  <a:lnTo>
                    <a:pt x="175" y="114"/>
                  </a:lnTo>
                  <a:lnTo>
                    <a:pt x="149" y="110"/>
                  </a:lnTo>
                  <a:lnTo>
                    <a:pt x="147" y="105"/>
                  </a:lnTo>
                  <a:lnTo>
                    <a:pt x="149" y="105"/>
                  </a:lnTo>
                  <a:lnTo>
                    <a:pt x="151" y="105"/>
                  </a:lnTo>
                  <a:lnTo>
                    <a:pt x="147" y="95"/>
                  </a:lnTo>
                  <a:lnTo>
                    <a:pt x="147" y="101"/>
                  </a:lnTo>
                  <a:lnTo>
                    <a:pt x="145" y="99"/>
                  </a:lnTo>
                  <a:lnTo>
                    <a:pt x="141" y="99"/>
                  </a:lnTo>
                  <a:lnTo>
                    <a:pt x="132" y="101"/>
                  </a:lnTo>
                  <a:lnTo>
                    <a:pt x="121" y="116"/>
                  </a:lnTo>
                  <a:lnTo>
                    <a:pt x="117" y="125"/>
                  </a:lnTo>
                  <a:lnTo>
                    <a:pt x="102" y="131"/>
                  </a:lnTo>
                  <a:lnTo>
                    <a:pt x="95" y="125"/>
                  </a:lnTo>
                  <a:lnTo>
                    <a:pt x="102" y="116"/>
                  </a:lnTo>
                  <a:lnTo>
                    <a:pt x="106" y="110"/>
                  </a:lnTo>
                  <a:lnTo>
                    <a:pt x="126" y="108"/>
                  </a:lnTo>
                  <a:lnTo>
                    <a:pt x="113" y="99"/>
                  </a:lnTo>
                  <a:lnTo>
                    <a:pt x="110" y="90"/>
                  </a:lnTo>
                  <a:lnTo>
                    <a:pt x="102" y="75"/>
                  </a:lnTo>
                  <a:lnTo>
                    <a:pt x="91" y="75"/>
                  </a:lnTo>
                  <a:lnTo>
                    <a:pt x="72" y="71"/>
                  </a:lnTo>
                  <a:lnTo>
                    <a:pt x="61" y="73"/>
                  </a:lnTo>
                  <a:lnTo>
                    <a:pt x="46" y="79"/>
                  </a:lnTo>
                  <a:lnTo>
                    <a:pt x="18" y="73"/>
                  </a:lnTo>
                  <a:lnTo>
                    <a:pt x="11" y="73"/>
                  </a:lnTo>
                  <a:lnTo>
                    <a:pt x="0" y="69"/>
                  </a:lnTo>
                  <a:lnTo>
                    <a:pt x="7" y="51"/>
                  </a:lnTo>
                  <a:lnTo>
                    <a:pt x="9" y="49"/>
                  </a:lnTo>
                  <a:lnTo>
                    <a:pt x="7" y="38"/>
                  </a:lnTo>
                  <a:lnTo>
                    <a:pt x="28" y="10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3" y="4"/>
                  </a:lnTo>
                  <a:lnTo>
                    <a:pt x="91" y="0"/>
                  </a:lnTo>
                  <a:lnTo>
                    <a:pt x="91" y="6"/>
                  </a:lnTo>
                  <a:lnTo>
                    <a:pt x="119" y="10"/>
                  </a:lnTo>
                  <a:lnTo>
                    <a:pt x="119" y="8"/>
                  </a:lnTo>
                  <a:lnTo>
                    <a:pt x="126" y="4"/>
                  </a:lnTo>
                  <a:lnTo>
                    <a:pt x="136" y="4"/>
                  </a:lnTo>
                  <a:lnTo>
                    <a:pt x="171" y="10"/>
                  </a:lnTo>
                  <a:lnTo>
                    <a:pt x="210" y="15"/>
                  </a:lnTo>
                  <a:lnTo>
                    <a:pt x="236" y="36"/>
                  </a:lnTo>
                  <a:lnTo>
                    <a:pt x="262" y="36"/>
                  </a:lnTo>
                  <a:lnTo>
                    <a:pt x="272" y="69"/>
                  </a:lnTo>
                  <a:lnTo>
                    <a:pt x="236" y="79"/>
                  </a:lnTo>
                  <a:lnTo>
                    <a:pt x="242" y="8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6" name="Freeform 69"/>
            <p:cNvSpPr>
              <a:spLocks noChangeAspect="1"/>
            </p:cNvSpPr>
            <p:nvPr/>
          </p:nvSpPr>
          <p:spPr bwMode="auto">
            <a:xfrm>
              <a:off x="2835" y="1841"/>
              <a:ext cx="55" cy="28"/>
            </a:xfrm>
            <a:custGeom>
              <a:avLst/>
              <a:gdLst>
                <a:gd name="T0" fmla="*/ 2 w 50"/>
                <a:gd name="T1" fmla="*/ 11 h 28"/>
                <a:gd name="T2" fmla="*/ 124 w 50"/>
                <a:gd name="T3" fmla="*/ 11 h 28"/>
                <a:gd name="T4" fmla="*/ 266 w 50"/>
                <a:gd name="T5" fmla="*/ 6 h 28"/>
                <a:gd name="T6" fmla="*/ 306 w 50"/>
                <a:gd name="T7" fmla="*/ 6 h 28"/>
                <a:gd name="T8" fmla="*/ 306 w 50"/>
                <a:gd name="T9" fmla="*/ 2 h 28"/>
                <a:gd name="T10" fmla="*/ 354 w 50"/>
                <a:gd name="T11" fmla="*/ 0 h 28"/>
                <a:gd name="T12" fmla="*/ 354 w 50"/>
                <a:gd name="T13" fmla="*/ 6 h 28"/>
                <a:gd name="T14" fmla="*/ 389 w 50"/>
                <a:gd name="T15" fmla="*/ 11 h 28"/>
                <a:gd name="T16" fmla="*/ 389 w 50"/>
                <a:gd name="T17" fmla="*/ 15 h 28"/>
                <a:gd name="T18" fmla="*/ 306 w 50"/>
                <a:gd name="T19" fmla="*/ 21 h 28"/>
                <a:gd name="T20" fmla="*/ 266 w 50"/>
                <a:gd name="T21" fmla="*/ 28 h 28"/>
                <a:gd name="T22" fmla="*/ 165 w 50"/>
                <a:gd name="T23" fmla="*/ 26 h 28"/>
                <a:gd name="T24" fmla="*/ 84 w 50"/>
                <a:gd name="T25" fmla="*/ 28 h 28"/>
                <a:gd name="T26" fmla="*/ 69 w 50"/>
                <a:gd name="T27" fmla="*/ 21 h 28"/>
                <a:gd name="T28" fmla="*/ 0 w 50"/>
                <a:gd name="T29" fmla="*/ 11 h 28"/>
                <a:gd name="T30" fmla="*/ 2 w 50"/>
                <a:gd name="T31" fmla="*/ 11 h 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0"/>
                <a:gd name="T49" fmla="*/ 0 h 28"/>
                <a:gd name="T50" fmla="*/ 50 w 50"/>
                <a:gd name="T51" fmla="*/ 28 h 2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0" h="28">
                  <a:moveTo>
                    <a:pt x="2" y="11"/>
                  </a:moveTo>
                  <a:lnTo>
                    <a:pt x="17" y="11"/>
                  </a:lnTo>
                  <a:lnTo>
                    <a:pt x="34" y="6"/>
                  </a:lnTo>
                  <a:lnTo>
                    <a:pt x="39" y="6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45" y="6"/>
                  </a:lnTo>
                  <a:lnTo>
                    <a:pt x="50" y="11"/>
                  </a:lnTo>
                  <a:lnTo>
                    <a:pt x="50" y="15"/>
                  </a:lnTo>
                  <a:lnTo>
                    <a:pt x="39" y="21"/>
                  </a:lnTo>
                  <a:lnTo>
                    <a:pt x="34" y="28"/>
                  </a:lnTo>
                  <a:lnTo>
                    <a:pt x="21" y="26"/>
                  </a:lnTo>
                  <a:lnTo>
                    <a:pt x="11" y="28"/>
                  </a:lnTo>
                  <a:lnTo>
                    <a:pt x="9" y="21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7" name="Freeform 70"/>
            <p:cNvSpPr>
              <a:spLocks noChangeAspect="1"/>
            </p:cNvSpPr>
            <p:nvPr/>
          </p:nvSpPr>
          <p:spPr bwMode="auto">
            <a:xfrm>
              <a:off x="2835" y="1856"/>
              <a:ext cx="93" cy="68"/>
            </a:xfrm>
            <a:custGeom>
              <a:avLst/>
              <a:gdLst>
                <a:gd name="T0" fmla="*/ 381 w 84"/>
                <a:gd name="T1" fmla="*/ 0 h 67"/>
                <a:gd name="T2" fmla="*/ 397 w 84"/>
                <a:gd name="T3" fmla="*/ 0 h 67"/>
                <a:gd name="T4" fmla="*/ 482 w 84"/>
                <a:gd name="T5" fmla="*/ 6 h 67"/>
                <a:gd name="T6" fmla="*/ 591 w 84"/>
                <a:gd name="T7" fmla="*/ 9 h 67"/>
                <a:gd name="T8" fmla="*/ 591 w 84"/>
                <a:gd name="T9" fmla="*/ 6 h 67"/>
                <a:gd name="T10" fmla="*/ 633 w 84"/>
                <a:gd name="T11" fmla="*/ 2 h 67"/>
                <a:gd name="T12" fmla="*/ 651 w 84"/>
                <a:gd name="T13" fmla="*/ 11 h 67"/>
                <a:gd name="T14" fmla="*/ 689 w 84"/>
                <a:gd name="T15" fmla="*/ 24 h 67"/>
                <a:gd name="T16" fmla="*/ 633 w 84"/>
                <a:gd name="T17" fmla="*/ 24 h 67"/>
                <a:gd name="T18" fmla="*/ 482 w 84"/>
                <a:gd name="T19" fmla="*/ 24 h 67"/>
                <a:gd name="T20" fmla="*/ 339 w 84"/>
                <a:gd name="T21" fmla="*/ 24 h 67"/>
                <a:gd name="T22" fmla="*/ 381 w 84"/>
                <a:gd name="T23" fmla="*/ 60 h 67"/>
                <a:gd name="T24" fmla="*/ 513 w 84"/>
                <a:gd name="T25" fmla="*/ 75 h 67"/>
                <a:gd name="T26" fmla="*/ 513 w 84"/>
                <a:gd name="T27" fmla="*/ 86 h 67"/>
                <a:gd name="T28" fmla="*/ 435 w 84"/>
                <a:gd name="T29" fmla="*/ 75 h 67"/>
                <a:gd name="T30" fmla="*/ 375 w 84"/>
                <a:gd name="T31" fmla="*/ 75 h 67"/>
                <a:gd name="T32" fmla="*/ 311 w 84"/>
                <a:gd name="T33" fmla="*/ 75 h 67"/>
                <a:gd name="T34" fmla="*/ 195 w 84"/>
                <a:gd name="T35" fmla="*/ 60 h 67"/>
                <a:gd name="T36" fmla="*/ 265 w 84"/>
                <a:gd name="T37" fmla="*/ 58 h 67"/>
                <a:gd name="T38" fmla="*/ 176 w 84"/>
                <a:gd name="T39" fmla="*/ 30 h 67"/>
                <a:gd name="T40" fmla="*/ 176 w 84"/>
                <a:gd name="T41" fmla="*/ 24 h 67"/>
                <a:gd name="T42" fmla="*/ 87 w 84"/>
                <a:gd name="T43" fmla="*/ 17 h 67"/>
                <a:gd name="T44" fmla="*/ 42 w 84"/>
                <a:gd name="T45" fmla="*/ 26 h 67"/>
                <a:gd name="T46" fmla="*/ 0 w 84"/>
                <a:gd name="T47" fmla="*/ 15 h 67"/>
                <a:gd name="T48" fmla="*/ 2 w 84"/>
                <a:gd name="T49" fmla="*/ 11 h 67"/>
                <a:gd name="T50" fmla="*/ 71 w 84"/>
                <a:gd name="T51" fmla="*/ 15 h 67"/>
                <a:gd name="T52" fmla="*/ 87 w 84"/>
                <a:gd name="T53" fmla="*/ 11 h 67"/>
                <a:gd name="T54" fmla="*/ 176 w 84"/>
                <a:gd name="T55" fmla="*/ 9 h 67"/>
                <a:gd name="T56" fmla="*/ 265 w 84"/>
                <a:gd name="T57" fmla="*/ 11 h 67"/>
                <a:gd name="T58" fmla="*/ 311 w 84"/>
                <a:gd name="T59" fmla="*/ 6 h 67"/>
                <a:gd name="T60" fmla="*/ 381 w 84"/>
                <a:gd name="T61" fmla="*/ 0 h 6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4"/>
                <a:gd name="T94" fmla="*/ 0 h 67"/>
                <a:gd name="T95" fmla="*/ 84 w 84"/>
                <a:gd name="T96" fmla="*/ 67 h 6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4" h="67">
                  <a:moveTo>
                    <a:pt x="47" y="0"/>
                  </a:moveTo>
                  <a:lnTo>
                    <a:pt x="50" y="0"/>
                  </a:lnTo>
                  <a:lnTo>
                    <a:pt x="60" y="6"/>
                  </a:lnTo>
                  <a:lnTo>
                    <a:pt x="73" y="9"/>
                  </a:lnTo>
                  <a:lnTo>
                    <a:pt x="73" y="6"/>
                  </a:lnTo>
                  <a:lnTo>
                    <a:pt x="78" y="2"/>
                  </a:lnTo>
                  <a:lnTo>
                    <a:pt x="80" y="11"/>
                  </a:lnTo>
                  <a:lnTo>
                    <a:pt x="84" y="24"/>
                  </a:lnTo>
                  <a:lnTo>
                    <a:pt x="78" y="24"/>
                  </a:lnTo>
                  <a:lnTo>
                    <a:pt x="60" y="24"/>
                  </a:lnTo>
                  <a:lnTo>
                    <a:pt x="41" y="24"/>
                  </a:lnTo>
                  <a:lnTo>
                    <a:pt x="47" y="41"/>
                  </a:lnTo>
                  <a:lnTo>
                    <a:pt x="62" y="56"/>
                  </a:lnTo>
                  <a:lnTo>
                    <a:pt x="62" y="67"/>
                  </a:lnTo>
                  <a:lnTo>
                    <a:pt x="54" y="56"/>
                  </a:lnTo>
                  <a:lnTo>
                    <a:pt x="45" y="56"/>
                  </a:lnTo>
                  <a:lnTo>
                    <a:pt x="39" y="56"/>
                  </a:lnTo>
                  <a:lnTo>
                    <a:pt x="24" y="41"/>
                  </a:lnTo>
                  <a:lnTo>
                    <a:pt x="32" y="39"/>
                  </a:lnTo>
                  <a:lnTo>
                    <a:pt x="21" y="30"/>
                  </a:lnTo>
                  <a:lnTo>
                    <a:pt x="21" y="24"/>
                  </a:lnTo>
                  <a:lnTo>
                    <a:pt x="11" y="17"/>
                  </a:lnTo>
                  <a:lnTo>
                    <a:pt x="6" y="26"/>
                  </a:lnTo>
                  <a:lnTo>
                    <a:pt x="0" y="15"/>
                  </a:lnTo>
                  <a:lnTo>
                    <a:pt x="2" y="11"/>
                  </a:lnTo>
                  <a:lnTo>
                    <a:pt x="9" y="15"/>
                  </a:lnTo>
                  <a:lnTo>
                    <a:pt x="11" y="11"/>
                  </a:lnTo>
                  <a:lnTo>
                    <a:pt x="21" y="9"/>
                  </a:lnTo>
                  <a:lnTo>
                    <a:pt x="32" y="11"/>
                  </a:lnTo>
                  <a:lnTo>
                    <a:pt x="39" y="6"/>
                  </a:lnTo>
                  <a:lnTo>
                    <a:pt x="47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8" name="Freeform 71"/>
            <p:cNvSpPr>
              <a:spLocks noChangeAspect="1"/>
            </p:cNvSpPr>
            <p:nvPr/>
          </p:nvSpPr>
          <p:spPr bwMode="auto">
            <a:xfrm>
              <a:off x="2880" y="1881"/>
              <a:ext cx="60" cy="50"/>
            </a:xfrm>
            <a:custGeom>
              <a:avLst/>
              <a:gdLst>
                <a:gd name="T0" fmla="*/ 346 w 54"/>
                <a:gd name="T1" fmla="*/ 59 h 49"/>
                <a:gd name="T2" fmla="*/ 252 w 54"/>
                <a:gd name="T3" fmla="*/ 55 h 49"/>
                <a:gd name="T4" fmla="*/ 124 w 54"/>
                <a:gd name="T5" fmla="*/ 51 h 49"/>
                <a:gd name="T6" fmla="*/ 124 w 54"/>
                <a:gd name="T7" fmla="*/ 49 h 49"/>
                <a:gd name="T8" fmla="*/ 204 w 54"/>
                <a:gd name="T9" fmla="*/ 51 h 49"/>
                <a:gd name="T10" fmla="*/ 204 w 54"/>
                <a:gd name="T11" fmla="*/ 42 h 49"/>
                <a:gd name="T12" fmla="*/ 57 w 54"/>
                <a:gd name="T13" fmla="*/ 17 h 49"/>
                <a:gd name="T14" fmla="*/ 0 w 54"/>
                <a:gd name="T15" fmla="*/ 0 h 49"/>
                <a:gd name="T16" fmla="*/ 170 w 54"/>
                <a:gd name="T17" fmla="*/ 0 h 49"/>
                <a:gd name="T18" fmla="*/ 346 w 54"/>
                <a:gd name="T19" fmla="*/ 0 h 49"/>
                <a:gd name="T20" fmla="*/ 380 w 54"/>
                <a:gd name="T21" fmla="*/ 0 h 49"/>
                <a:gd name="T22" fmla="*/ 474 w 54"/>
                <a:gd name="T23" fmla="*/ 0 h 49"/>
                <a:gd name="T24" fmla="*/ 440 w 54"/>
                <a:gd name="T25" fmla="*/ 11 h 49"/>
                <a:gd name="T26" fmla="*/ 474 w 54"/>
                <a:gd name="T27" fmla="*/ 21 h 49"/>
                <a:gd name="T28" fmla="*/ 474 w 54"/>
                <a:gd name="T29" fmla="*/ 40 h 49"/>
                <a:gd name="T30" fmla="*/ 380 w 54"/>
                <a:gd name="T31" fmla="*/ 49 h 49"/>
                <a:gd name="T32" fmla="*/ 346 w 54"/>
                <a:gd name="T33" fmla="*/ 59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4"/>
                <a:gd name="T52" fmla="*/ 0 h 49"/>
                <a:gd name="T53" fmla="*/ 54 w 54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4" h="49">
                  <a:moveTo>
                    <a:pt x="39" y="49"/>
                  </a:moveTo>
                  <a:lnTo>
                    <a:pt x="28" y="45"/>
                  </a:lnTo>
                  <a:lnTo>
                    <a:pt x="15" y="41"/>
                  </a:lnTo>
                  <a:lnTo>
                    <a:pt x="15" y="39"/>
                  </a:lnTo>
                  <a:lnTo>
                    <a:pt x="24" y="41"/>
                  </a:lnTo>
                  <a:lnTo>
                    <a:pt x="24" y="32"/>
                  </a:lnTo>
                  <a:lnTo>
                    <a:pt x="6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54" y="0"/>
                  </a:lnTo>
                  <a:lnTo>
                    <a:pt x="50" y="11"/>
                  </a:lnTo>
                  <a:lnTo>
                    <a:pt x="54" y="21"/>
                  </a:lnTo>
                  <a:lnTo>
                    <a:pt x="54" y="30"/>
                  </a:lnTo>
                  <a:lnTo>
                    <a:pt x="43" y="39"/>
                  </a:lnTo>
                  <a:lnTo>
                    <a:pt x="39" y="4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79" name="Freeform 72"/>
            <p:cNvSpPr>
              <a:spLocks noChangeAspect="1"/>
            </p:cNvSpPr>
            <p:nvPr/>
          </p:nvSpPr>
          <p:spPr bwMode="auto">
            <a:xfrm>
              <a:off x="2923" y="1856"/>
              <a:ext cx="46" cy="25"/>
            </a:xfrm>
            <a:custGeom>
              <a:avLst/>
              <a:gdLst>
                <a:gd name="T0" fmla="*/ 0 w 41"/>
                <a:gd name="T1" fmla="*/ 2 h 24"/>
                <a:gd name="T2" fmla="*/ 120 w 41"/>
                <a:gd name="T3" fmla="*/ 2 h 24"/>
                <a:gd name="T4" fmla="*/ 158 w 41"/>
                <a:gd name="T5" fmla="*/ 0 h 24"/>
                <a:gd name="T6" fmla="*/ 282 w 41"/>
                <a:gd name="T7" fmla="*/ 0 h 24"/>
                <a:gd name="T8" fmla="*/ 316 w 41"/>
                <a:gd name="T9" fmla="*/ 6 h 24"/>
                <a:gd name="T10" fmla="*/ 316 w 41"/>
                <a:gd name="T11" fmla="*/ 11 h 24"/>
                <a:gd name="T12" fmla="*/ 443 w 41"/>
                <a:gd name="T13" fmla="*/ 36 h 24"/>
                <a:gd name="T14" fmla="*/ 443 w 41"/>
                <a:gd name="T15" fmla="*/ 50 h 24"/>
                <a:gd name="T16" fmla="*/ 366 w 41"/>
                <a:gd name="T17" fmla="*/ 50 h 24"/>
                <a:gd name="T18" fmla="*/ 282 w 41"/>
                <a:gd name="T19" fmla="*/ 40 h 24"/>
                <a:gd name="T20" fmla="*/ 158 w 41"/>
                <a:gd name="T21" fmla="*/ 50 h 24"/>
                <a:gd name="T22" fmla="*/ 68 w 41"/>
                <a:gd name="T23" fmla="*/ 50 h 24"/>
                <a:gd name="T24" fmla="*/ 2 w 41"/>
                <a:gd name="T25" fmla="*/ 11 h 24"/>
                <a:gd name="T26" fmla="*/ 0 w 41"/>
                <a:gd name="T27" fmla="*/ 2 h 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1"/>
                <a:gd name="T43" fmla="*/ 0 h 24"/>
                <a:gd name="T44" fmla="*/ 41 w 41"/>
                <a:gd name="T45" fmla="*/ 24 h 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1" h="24">
                  <a:moveTo>
                    <a:pt x="0" y="2"/>
                  </a:moveTo>
                  <a:lnTo>
                    <a:pt x="11" y="2"/>
                  </a:lnTo>
                  <a:lnTo>
                    <a:pt x="15" y="0"/>
                  </a:lnTo>
                  <a:lnTo>
                    <a:pt x="26" y="0"/>
                  </a:lnTo>
                  <a:lnTo>
                    <a:pt x="30" y="6"/>
                  </a:lnTo>
                  <a:lnTo>
                    <a:pt x="30" y="11"/>
                  </a:lnTo>
                  <a:lnTo>
                    <a:pt x="41" y="17"/>
                  </a:lnTo>
                  <a:lnTo>
                    <a:pt x="41" y="24"/>
                  </a:lnTo>
                  <a:lnTo>
                    <a:pt x="34" y="24"/>
                  </a:lnTo>
                  <a:lnTo>
                    <a:pt x="26" y="19"/>
                  </a:lnTo>
                  <a:lnTo>
                    <a:pt x="15" y="24"/>
                  </a:lnTo>
                  <a:lnTo>
                    <a:pt x="6" y="24"/>
                  </a:lnTo>
                  <a:lnTo>
                    <a:pt x="2" y="11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0" name="Freeform 73"/>
            <p:cNvSpPr>
              <a:spLocks noChangeAspect="1"/>
            </p:cNvSpPr>
            <p:nvPr/>
          </p:nvSpPr>
          <p:spPr bwMode="auto">
            <a:xfrm>
              <a:off x="2935" y="1875"/>
              <a:ext cx="62" cy="62"/>
            </a:xfrm>
            <a:custGeom>
              <a:avLst/>
              <a:gdLst>
                <a:gd name="T0" fmla="*/ 251 w 56"/>
                <a:gd name="T1" fmla="*/ 5 h 61"/>
                <a:gd name="T2" fmla="*/ 251 w 56"/>
                <a:gd name="T3" fmla="*/ 7 h 61"/>
                <a:gd name="T4" fmla="*/ 311 w 56"/>
                <a:gd name="T5" fmla="*/ 9 h 61"/>
                <a:gd name="T6" fmla="*/ 347 w 56"/>
                <a:gd name="T7" fmla="*/ 13 h 61"/>
                <a:gd name="T8" fmla="*/ 375 w 56"/>
                <a:gd name="T9" fmla="*/ 9 h 61"/>
                <a:gd name="T10" fmla="*/ 397 w 56"/>
                <a:gd name="T11" fmla="*/ 9 h 61"/>
                <a:gd name="T12" fmla="*/ 375 w 56"/>
                <a:gd name="T13" fmla="*/ 13 h 61"/>
                <a:gd name="T14" fmla="*/ 397 w 56"/>
                <a:gd name="T15" fmla="*/ 20 h 61"/>
                <a:gd name="T16" fmla="*/ 397 w 56"/>
                <a:gd name="T17" fmla="*/ 50 h 61"/>
                <a:gd name="T18" fmla="*/ 435 w 56"/>
                <a:gd name="T19" fmla="*/ 56 h 61"/>
                <a:gd name="T20" fmla="*/ 464 w 56"/>
                <a:gd name="T21" fmla="*/ 60 h 61"/>
                <a:gd name="T22" fmla="*/ 435 w 56"/>
                <a:gd name="T23" fmla="*/ 65 h 61"/>
                <a:gd name="T24" fmla="*/ 397 w 56"/>
                <a:gd name="T25" fmla="*/ 67 h 61"/>
                <a:gd name="T26" fmla="*/ 397 w 56"/>
                <a:gd name="T27" fmla="*/ 69 h 61"/>
                <a:gd name="T28" fmla="*/ 435 w 56"/>
                <a:gd name="T29" fmla="*/ 73 h 61"/>
                <a:gd name="T30" fmla="*/ 397 w 56"/>
                <a:gd name="T31" fmla="*/ 76 h 61"/>
                <a:gd name="T32" fmla="*/ 278 w 56"/>
                <a:gd name="T33" fmla="*/ 80 h 61"/>
                <a:gd name="T34" fmla="*/ 341 w 56"/>
                <a:gd name="T35" fmla="*/ 73 h 61"/>
                <a:gd name="T36" fmla="*/ 278 w 56"/>
                <a:gd name="T37" fmla="*/ 65 h 61"/>
                <a:gd name="T38" fmla="*/ 203 w 56"/>
                <a:gd name="T39" fmla="*/ 65 h 61"/>
                <a:gd name="T40" fmla="*/ 187 w 56"/>
                <a:gd name="T41" fmla="*/ 67 h 61"/>
                <a:gd name="T42" fmla="*/ 102 w 56"/>
                <a:gd name="T43" fmla="*/ 56 h 61"/>
                <a:gd name="T44" fmla="*/ 4 w 56"/>
                <a:gd name="T45" fmla="*/ 54 h 61"/>
                <a:gd name="T46" fmla="*/ 4 w 56"/>
                <a:gd name="T47" fmla="*/ 26 h 61"/>
                <a:gd name="T48" fmla="*/ 0 w 56"/>
                <a:gd name="T49" fmla="*/ 16 h 61"/>
                <a:gd name="T50" fmla="*/ 4 w 56"/>
                <a:gd name="T51" fmla="*/ 5 h 61"/>
                <a:gd name="T52" fmla="*/ 117 w 56"/>
                <a:gd name="T53" fmla="*/ 0 h 61"/>
                <a:gd name="T54" fmla="*/ 203 w 56"/>
                <a:gd name="T55" fmla="*/ 5 h 61"/>
                <a:gd name="T56" fmla="*/ 251 w 56"/>
                <a:gd name="T57" fmla="*/ 5 h 6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6"/>
                <a:gd name="T88" fmla="*/ 0 h 61"/>
                <a:gd name="T89" fmla="*/ 56 w 56"/>
                <a:gd name="T90" fmla="*/ 61 h 6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6" h="61">
                  <a:moveTo>
                    <a:pt x="30" y="5"/>
                  </a:moveTo>
                  <a:lnTo>
                    <a:pt x="30" y="7"/>
                  </a:lnTo>
                  <a:lnTo>
                    <a:pt x="38" y="9"/>
                  </a:lnTo>
                  <a:lnTo>
                    <a:pt x="43" y="13"/>
                  </a:lnTo>
                  <a:lnTo>
                    <a:pt x="45" y="9"/>
                  </a:lnTo>
                  <a:lnTo>
                    <a:pt x="49" y="9"/>
                  </a:lnTo>
                  <a:lnTo>
                    <a:pt x="45" y="13"/>
                  </a:lnTo>
                  <a:lnTo>
                    <a:pt x="49" y="20"/>
                  </a:lnTo>
                  <a:lnTo>
                    <a:pt x="49" y="31"/>
                  </a:lnTo>
                  <a:lnTo>
                    <a:pt x="53" y="37"/>
                  </a:lnTo>
                  <a:lnTo>
                    <a:pt x="56" y="41"/>
                  </a:lnTo>
                  <a:lnTo>
                    <a:pt x="53" y="46"/>
                  </a:lnTo>
                  <a:lnTo>
                    <a:pt x="49" y="48"/>
                  </a:lnTo>
                  <a:lnTo>
                    <a:pt x="49" y="50"/>
                  </a:lnTo>
                  <a:lnTo>
                    <a:pt x="53" y="54"/>
                  </a:lnTo>
                  <a:lnTo>
                    <a:pt x="49" y="57"/>
                  </a:lnTo>
                  <a:lnTo>
                    <a:pt x="34" y="61"/>
                  </a:lnTo>
                  <a:lnTo>
                    <a:pt x="41" y="54"/>
                  </a:lnTo>
                  <a:lnTo>
                    <a:pt x="34" y="46"/>
                  </a:lnTo>
                  <a:lnTo>
                    <a:pt x="25" y="46"/>
                  </a:lnTo>
                  <a:lnTo>
                    <a:pt x="23" y="48"/>
                  </a:lnTo>
                  <a:lnTo>
                    <a:pt x="12" y="37"/>
                  </a:lnTo>
                  <a:lnTo>
                    <a:pt x="4" y="35"/>
                  </a:lnTo>
                  <a:lnTo>
                    <a:pt x="4" y="26"/>
                  </a:lnTo>
                  <a:lnTo>
                    <a:pt x="0" y="16"/>
                  </a:lnTo>
                  <a:lnTo>
                    <a:pt x="4" y="5"/>
                  </a:lnTo>
                  <a:lnTo>
                    <a:pt x="15" y="0"/>
                  </a:lnTo>
                  <a:lnTo>
                    <a:pt x="25" y="5"/>
                  </a:lnTo>
                  <a:lnTo>
                    <a:pt x="30" y="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1" name="Freeform 74"/>
            <p:cNvSpPr>
              <a:spLocks noChangeAspect="1"/>
            </p:cNvSpPr>
            <p:nvPr/>
          </p:nvSpPr>
          <p:spPr bwMode="auto">
            <a:xfrm>
              <a:off x="2923" y="1911"/>
              <a:ext cx="38" cy="33"/>
            </a:xfrm>
            <a:custGeom>
              <a:avLst/>
              <a:gdLst>
                <a:gd name="T0" fmla="*/ 230 w 34"/>
                <a:gd name="T1" fmla="*/ 15 h 32"/>
                <a:gd name="T2" fmla="*/ 151 w 34"/>
                <a:gd name="T3" fmla="*/ 42 h 32"/>
                <a:gd name="T4" fmla="*/ 87 w 34"/>
                <a:gd name="T5" fmla="*/ 55 h 32"/>
                <a:gd name="T6" fmla="*/ 0 w 34"/>
                <a:gd name="T7" fmla="*/ 39 h 32"/>
                <a:gd name="T8" fmla="*/ 2 w 34"/>
                <a:gd name="T9" fmla="*/ 39 h 32"/>
                <a:gd name="T10" fmla="*/ 70 w 34"/>
                <a:gd name="T11" fmla="*/ 11 h 32"/>
                <a:gd name="T12" fmla="*/ 151 w 34"/>
                <a:gd name="T13" fmla="*/ 0 h 32"/>
                <a:gd name="T14" fmla="*/ 253 w 34"/>
                <a:gd name="T15" fmla="*/ 2 h 32"/>
                <a:gd name="T16" fmla="*/ 369 w 34"/>
                <a:gd name="T17" fmla="*/ 13 h 32"/>
                <a:gd name="T18" fmla="*/ 330 w 34"/>
                <a:gd name="T19" fmla="*/ 15 h 32"/>
                <a:gd name="T20" fmla="*/ 230 w 34"/>
                <a:gd name="T21" fmla="*/ 15 h 3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32"/>
                <a:gd name="T35" fmla="*/ 34 w 34"/>
                <a:gd name="T36" fmla="*/ 32 h 3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32">
                  <a:moveTo>
                    <a:pt x="21" y="15"/>
                  </a:moveTo>
                  <a:lnTo>
                    <a:pt x="15" y="22"/>
                  </a:lnTo>
                  <a:lnTo>
                    <a:pt x="8" y="32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1"/>
                  </a:lnTo>
                  <a:lnTo>
                    <a:pt x="15" y="0"/>
                  </a:lnTo>
                  <a:lnTo>
                    <a:pt x="23" y="2"/>
                  </a:lnTo>
                  <a:lnTo>
                    <a:pt x="34" y="13"/>
                  </a:lnTo>
                  <a:lnTo>
                    <a:pt x="30" y="15"/>
                  </a:lnTo>
                  <a:lnTo>
                    <a:pt x="21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2" name="Freeform 75"/>
            <p:cNvSpPr>
              <a:spLocks noChangeAspect="1"/>
            </p:cNvSpPr>
            <p:nvPr/>
          </p:nvSpPr>
          <p:spPr bwMode="auto">
            <a:xfrm>
              <a:off x="2946" y="1922"/>
              <a:ext cx="35" cy="27"/>
            </a:xfrm>
            <a:custGeom>
              <a:avLst/>
              <a:gdLst>
                <a:gd name="T0" fmla="*/ 330 w 31"/>
                <a:gd name="T1" fmla="*/ 35 h 26"/>
                <a:gd name="T2" fmla="*/ 164 w 31"/>
                <a:gd name="T3" fmla="*/ 53 h 26"/>
                <a:gd name="T4" fmla="*/ 164 w 31"/>
                <a:gd name="T5" fmla="*/ 43 h 26"/>
                <a:gd name="T6" fmla="*/ 164 w 31"/>
                <a:gd name="T7" fmla="*/ 35 h 26"/>
                <a:gd name="T8" fmla="*/ 0 w 31"/>
                <a:gd name="T9" fmla="*/ 6 h 26"/>
                <a:gd name="T10" fmla="*/ 125 w 31"/>
                <a:gd name="T11" fmla="*/ 6 h 26"/>
                <a:gd name="T12" fmla="*/ 164 w 31"/>
                <a:gd name="T13" fmla="*/ 2 h 26"/>
                <a:gd name="T14" fmla="*/ 203 w 31"/>
                <a:gd name="T15" fmla="*/ 0 h 26"/>
                <a:gd name="T16" fmla="*/ 330 w 31"/>
                <a:gd name="T17" fmla="*/ 0 h 26"/>
                <a:gd name="T18" fmla="*/ 421 w 31"/>
                <a:gd name="T19" fmla="*/ 11 h 26"/>
                <a:gd name="T20" fmla="*/ 330 w 31"/>
                <a:gd name="T21" fmla="*/ 35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1"/>
                <a:gd name="T34" fmla="*/ 0 h 26"/>
                <a:gd name="T35" fmla="*/ 31 w 3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1" h="26">
                  <a:moveTo>
                    <a:pt x="24" y="15"/>
                  </a:moveTo>
                  <a:lnTo>
                    <a:pt x="13" y="26"/>
                  </a:lnTo>
                  <a:lnTo>
                    <a:pt x="13" y="21"/>
                  </a:lnTo>
                  <a:lnTo>
                    <a:pt x="13" y="15"/>
                  </a:lnTo>
                  <a:lnTo>
                    <a:pt x="0" y="6"/>
                  </a:lnTo>
                  <a:lnTo>
                    <a:pt x="9" y="6"/>
                  </a:lnTo>
                  <a:lnTo>
                    <a:pt x="13" y="2"/>
                  </a:lnTo>
                  <a:lnTo>
                    <a:pt x="15" y="0"/>
                  </a:lnTo>
                  <a:lnTo>
                    <a:pt x="24" y="0"/>
                  </a:lnTo>
                  <a:lnTo>
                    <a:pt x="31" y="11"/>
                  </a:lnTo>
                  <a:lnTo>
                    <a:pt x="24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3" name="Freeform 76"/>
            <p:cNvSpPr>
              <a:spLocks noChangeAspect="1"/>
            </p:cNvSpPr>
            <p:nvPr/>
          </p:nvSpPr>
          <p:spPr bwMode="auto">
            <a:xfrm>
              <a:off x="2961" y="1933"/>
              <a:ext cx="40" cy="35"/>
            </a:xfrm>
            <a:custGeom>
              <a:avLst/>
              <a:gdLst>
                <a:gd name="T0" fmla="*/ 133 w 37"/>
                <a:gd name="T1" fmla="*/ 0 h 34"/>
                <a:gd name="T2" fmla="*/ 188 w 37"/>
                <a:gd name="T3" fmla="*/ 8 h 34"/>
                <a:gd name="T4" fmla="*/ 188 w 37"/>
                <a:gd name="T5" fmla="*/ 38 h 34"/>
                <a:gd name="T6" fmla="*/ 156 w 37"/>
                <a:gd name="T7" fmla="*/ 42 h 34"/>
                <a:gd name="T8" fmla="*/ 123 w 37"/>
                <a:gd name="T9" fmla="*/ 40 h 34"/>
                <a:gd name="T10" fmla="*/ 114 w 37"/>
                <a:gd name="T11" fmla="*/ 47 h 34"/>
                <a:gd name="T12" fmla="*/ 54 w 37"/>
                <a:gd name="T13" fmla="*/ 47 h 34"/>
                <a:gd name="T14" fmla="*/ 40 w 37"/>
                <a:gd name="T15" fmla="*/ 54 h 34"/>
                <a:gd name="T16" fmla="*/ 2 w 37"/>
                <a:gd name="T17" fmla="*/ 42 h 34"/>
                <a:gd name="T18" fmla="*/ 0 w 37"/>
                <a:gd name="T19" fmla="*/ 38 h 34"/>
                <a:gd name="T20" fmla="*/ 0 w 37"/>
                <a:gd name="T21" fmla="*/ 13 h 34"/>
                <a:gd name="T22" fmla="*/ 54 w 37"/>
                <a:gd name="T23" fmla="*/ 4 h 34"/>
                <a:gd name="T24" fmla="*/ 133 w 37"/>
                <a:gd name="T25" fmla="*/ 0 h 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4"/>
                <a:gd name="T41" fmla="*/ 37 w 37"/>
                <a:gd name="T42" fmla="*/ 34 h 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4">
                  <a:moveTo>
                    <a:pt x="26" y="0"/>
                  </a:moveTo>
                  <a:lnTo>
                    <a:pt x="37" y="8"/>
                  </a:lnTo>
                  <a:lnTo>
                    <a:pt x="37" y="19"/>
                  </a:lnTo>
                  <a:lnTo>
                    <a:pt x="30" y="23"/>
                  </a:lnTo>
                  <a:lnTo>
                    <a:pt x="24" y="21"/>
                  </a:lnTo>
                  <a:lnTo>
                    <a:pt x="22" y="28"/>
                  </a:lnTo>
                  <a:lnTo>
                    <a:pt x="11" y="28"/>
                  </a:lnTo>
                  <a:lnTo>
                    <a:pt x="7" y="34"/>
                  </a:lnTo>
                  <a:lnTo>
                    <a:pt x="2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11" y="4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4" name="Freeform 77"/>
            <p:cNvSpPr>
              <a:spLocks noChangeAspect="1"/>
            </p:cNvSpPr>
            <p:nvPr/>
          </p:nvSpPr>
          <p:spPr bwMode="auto">
            <a:xfrm>
              <a:off x="2887" y="1777"/>
              <a:ext cx="96" cy="50"/>
            </a:xfrm>
            <a:custGeom>
              <a:avLst/>
              <a:gdLst>
                <a:gd name="T0" fmla="*/ 195 w 87"/>
                <a:gd name="T1" fmla="*/ 0 h 48"/>
                <a:gd name="T2" fmla="*/ 252 w 87"/>
                <a:gd name="T3" fmla="*/ 7 h 48"/>
                <a:gd name="T4" fmla="*/ 311 w 87"/>
                <a:gd name="T5" fmla="*/ 5 h 48"/>
                <a:gd name="T6" fmla="*/ 339 w 87"/>
                <a:gd name="T7" fmla="*/ 9 h 48"/>
                <a:gd name="T8" fmla="*/ 352 w 87"/>
                <a:gd name="T9" fmla="*/ 23 h 48"/>
                <a:gd name="T10" fmla="*/ 428 w 87"/>
                <a:gd name="T11" fmla="*/ 9 h 48"/>
                <a:gd name="T12" fmla="*/ 460 w 87"/>
                <a:gd name="T13" fmla="*/ 9 h 48"/>
                <a:gd name="T14" fmla="*/ 495 w 87"/>
                <a:gd name="T15" fmla="*/ 7 h 48"/>
                <a:gd name="T16" fmla="*/ 561 w 87"/>
                <a:gd name="T17" fmla="*/ 9 h 48"/>
                <a:gd name="T18" fmla="*/ 622 w 87"/>
                <a:gd name="T19" fmla="*/ 23 h 48"/>
                <a:gd name="T20" fmla="*/ 662 w 87"/>
                <a:gd name="T21" fmla="*/ 25 h 48"/>
                <a:gd name="T22" fmla="*/ 602 w 87"/>
                <a:gd name="T23" fmla="*/ 62 h 48"/>
                <a:gd name="T24" fmla="*/ 561 w 87"/>
                <a:gd name="T25" fmla="*/ 62 h 48"/>
                <a:gd name="T26" fmla="*/ 546 w 87"/>
                <a:gd name="T27" fmla="*/ 57 h 48"/>
                <a:gd name="T28" fmla="*/ 460 w 87"/>
                <a:gd name="T29" fmla="*/ 57 h 48"/>
                <a:gd name="T30" fmla="*/ 449 w 87"/>
                <a:gd name="T31" fmla="*/ 57 h 48"/>
                <a:gd name="T32" fmla="*/ 352 w 87"/>
                <a:gd name="T33" fmla="*/ 65 h 48"/>
                <a:gd name="T34" fmla="*/ 339 w 87"/>
                <a:gd name="T35" fmla="*/ 65 h 48"/>
                <a:gd name="T36" fmla="*/ 237 w 87"/>
                <a:gd name="T37" fmla="*/ 71 h 48"/>
                <a:gd name="T38" fmla="*/ 170 w 87"/>
                <a:gd name="T39" fmla="*/ 85 h 48"/>
                <a:gd name="T40" fmla="*/ 68 w 87"/>
                <a:gd name="T41" fmla="*/ 77 h 48"/>
                <a:gd name="T42" fmla="*/ 56 w 87"/>
                <a:gd name="T43" fmla="*/ 71 h 48"/>
                <a:gd name="T44" fmla="*/ 0 w 87"/>
                <a:gd name="T45" fmla="*/ 65 h 48"/>
                <a:gd name="T46" fmla="*/ 0 w 87"/>
                <a:gd name="T47" fmla="*/ 42 h 48"/>
                <a:gd name="T48" fmla="*/ 195 w 87"/>
                <a:gd name="T49" fmla="*/ 0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8"/>
                <a:gd name="T77" fmla="*/ 87 w 87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8">
                  <a:moveTo>
                    <a:pt x="26" y="0"/>
                  </a:moveTo>
                  <a:lnTo>
                    <a:pt x="33" y="7"/>
                  </a:lnTo>
                  <a:lnTo>
                    <a:pt x="41" y="5"/>
                  </a:lnTo>
                  <a:lnTo>
                    <a:pt x="44" y="9"/>
                  </a:lnTo>
                  <a:lnTo>
                    <a:pt x="46" y="13"/>
                  </a:lnTo>
                  <a:lnTo>
                    <a:pt x="56" y="9"/>
                  </a:lnTo>
                  <a:lnTo>
                    <a:pt x="61" y="9"/>
                  </a:lnTo>
                  <a:lnTo>
                    <a:pt x="65" y="7"/>
                  </a:lnTo>
                  <a:lnTo>
                    <a:pt x="74" y="9"/>
                  </a:lnTo>
                  <a:lnTo>
                    <a:pt x="82" y="13"/>
                  </a:lnTo>
                  <a:lnTo>
                    <a:pt x="87" y="15"/>
                  </a:lnTo>
                  <a:lnTo>
                    <a:pt x="80" y="33"/>
                  </a:lnTo>
                  <a:lnTo>
                    <a:pt x="74" y="33"/>
                  </a:lnTo>
                  <a:lnTo>
                    <a:pt x="72" y="28"/>
                  </a:lnTo>
                  <a:lnTo>
                    <a:pt x="61" y="28"/>
                  </a:lnTo>
                  <a:lnTo>
                    <a:pt x="59" y="28"/>
                  </a:lnTo>
                  <a:lnTo>
                    <a:pt x="46" y="35"/>
                  </a:lnTo>
                  <a:lnTo>
                    <a:pt x="44" y="35"/>
                  </a:lnTo>
                  <a:lnTo>
                    <a:pt x="31" y="39"/>
                  </a:lnTo>
                  <a:lnTo>
                    <a:pt x="22" y="48"/>
                  </a:lnTo>
                  <a:lnTo>
                    <a:pt x="9" y="43"/>
                  </a:lnTo>
                  <a:lnTo>
                    <a:pt x="7" y="39"/>
                  </a:lnTo>
                  <a:lnTo>
                    <a:pt x="0" y="35"/>
                  </a:lnTo>
                  <a:lnTo>
                    <a:pt x="0" y="24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5" name="Freeform 78"/>
            <p:cNvSpPr>
              <a:spLocks noChangeAspect="1"/>
            </p:cNvSpPr>
            <p:nvPr/>
          </p:nvSpPr>
          <p:spPr bwMode="auto">
            <a:xfrm>
              <a:off x="2809" y="1750"/>
              <a:ext cx="107" cy="55"/>
            </a:xfrm>
            <a:custGeom>
              <a:avLst/>
              <a:gdLst>
                <a:gd name="T0" fmla="*/ 290 w 97"/>
                <a:gd name="T1" fmla="*/ 0 h 54"/>
                <a:gd name="T2" fmla="*/ 320 w 97"/>
                <a:gd name="T3" fmla="*/ 0 h 54"/>
                <a:gd name="T4" fmla="*/ 362 w 97"/>
                <a:gd name="T5" fmla="*/ 0 h 54"/>
                <a:gd name="T6" fmla="*/ 417 w 97"/>
                <a:gd name="T7" fmla="*/ 0 h 54"/>
                <a:gd name="T8" fmla="*/ 417 w 97"/>
                <a:gd name="T9" fmla="*/ 5 h 54"/>
                <a:gd name="T10" fmla="*/ 485 w 97"/>
                <a:gd name="T11" fmla="*/ 9 h 54"/>
                <a:gd name="T12" fmla="*/ 522 w 97"/>
                <a:gd name="T13" fmla="*/ 9 h 54"/>
                <a:gd name="T14" fmla="*/ 522 w 97"/>
                <a:gd name="T15" fmla="*/ 11 h 54"/>
                <a:gd name="T16" fmla="*/ 522 w 97"/>
                <a:gd name="T17" fmla="*/ 13 h 54"/>
                <a:gd name="T18" fmla="*/ 571 w 97"/>
                <a:gd name="T19" fmla="*/ 18 h 54"/>
                <a:gd name="T20" fmla="*/ 590 w 97"/>
                <a:gd name="T21" fmla="*/ 18 h 54"/>
                <a:gd name="T22" fmla="*/ 636 w 97"/>
                <a:gd name="T23" fmla="*/ 13 h 54"/>
                <a:gd name="T24" fmla="*/ 700 w 97"/>
                <a:gd name="T25" fmla="*/ 18 h 54"/>
                <a:gd name="T26" fmla="*/ 700 w 97"/>
                <a:gd name="T27" fmla="*/ 20 h 54"/>
                <a:gd name="T28" fmla="*/ 806 w 97"/>
                <a:gd name="T29" fmla="*/ 24 h 54"/>
                <a:gd name="T30" fmla="*/ 806 w 97"/>
                <a:gd name="T31" fmla="*/ 26 h 54"/>
                <a:gd name="T32" fmla="*/ 590 w 97"/>
                <a:gd name="T33" fmla="*/ 70 h 54"/>
                <a:gd name="T34" fmla="*/ 470 w 97"/>
                <a:gd name="T35" fmla="*/ 68 h 54"/>
                <a:gd name="T36" fmla="*/ 399 w 97"/>
                <a:gd name="T37" fmla="*/ 64 h 54"/>
                <a:gd name="T38" fmla="*/ 320 w 97"/>
                <a:gd name="T39" fmla="*/ 74 h 54"/>
                <a:gd name="T40" fmla="*/ 290 w 97"/>
                <a:gd name="T41" fmla="*/ 74 h 54"/>
                <a:gd name="T42" fmla="*/ 200 w 97"/>
                <a:gd name="T43" fmla="*/ 70 h 54"/>
                <a:gd name="T44" fmla="*/ 200 w 97"/>
                <a:gd name="T45" fmla="*/ 68 h 54"/>
                <a:gd name="T46" fmla="*/ 169 w 97"/>
                <a:gd name="T47" fmla="*/ 61 h 54"/>
                <a:gd name="T48" fmla="*/ 135 w 97"/>
                <a:gd name="T49" fmla="*/ 59 h 54"/>
                <a:gd name="T50" fmla="*/ 62 w 97"/>
                <a:gd name="T51" fmla="*/ 53 h 54"/>
                <a:gd name="T52" fmla="*/ 62 w 97"/>
                <a:gd name="T53" fmla="*/ 26 h 54"/>
                <a:gd name="T54" fmla="*/ 0 w 97"/>
                <a:gd name="T55" fmla="*/ 24 h 54"/>
                <a:gd name="T56" fmla="*/ 0 w 97"/>
                <a:gd name="T57" fmla="*/ 18 h 54"/>
                <a:gd name="T58" fmla="*/ 0 w 97"/>
                <a:gd name="T59" fmla="*/ 13 h 54"/>
                <a:gd name="T60" fmla="*/ 4 w 97"/>
                <a:gd name="T61" fmla="*/ 18 h 54"/>
                <a:gd name="T62" fmla="*/ 275 w 97"/>
                <a:gd name="T63" fmla="*/ 5 h 54"/>
                <a:gd name="T64" fmla="*/ 290 w 97"/>
                <a:gd name="T65" fmla="*/ 0 h 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7"/>
                <a:gd name="T100" fmla="*/ 0 h 54"/>
                <a:gd name="T101" fmla="*/ 97 w 97"/>
                <a:gd name="T102" fmla="*/ 54 h 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7" h="54">
                  <a:moveTo>
                    <a:pt x="35" y="0"/>
                  </a:moveTo>
                  <a:lnTo>
                    <a:pt x="39" y="0"/>
                  </a:lnTo>
                  <a:lnTo>
                    <a:pt x="43" y="0"/>
                  </a:lnTo>
                  <a:lnTo>
                    <a:pt x="50" y="0"/>
                  </a:lnTo>
                  <a:lnTo>
                    <a:pt x="50" y="5"/>
                  </a:lnTo>
                  <a:lnTo>
                    <a:pt x="58" y="9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13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8" y="13"/>
                  </a:lnTo>
                  <a:lnTo>
                    <a:pt x="84" y="18"/>
                  </a:lnTo>
                  <a:lnTo>
                    <a:pt x="84" y="20"/>
                  </a:lnTo>
                  <a:lnTo>
                    <a:pt x="97" y="24"/>
                  </a:lnTo>
                  <a:lnTo>
                    <a:pt x="97" y="26"/>
                  </a:lnTo>
                  <a:lnTo>
                    <a:pt x="71" y="50"/>
                  </a:lnTo>
                  <a:lnTo>
                    <a:pt x="56" y="48"/>
                  </a:lnTo>
                  <a:lnTo>
                    <a:pt x="48" y="44"/>
                  </a:lnTo>
                  <a:lnTo>
                    <a:pt x="39" y="54"/>
                  </a:lnTo>
                  <a:lnTo>
                    <a:pt x="35" y="54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0" y="41"/>
                  </a:lnTo>
                  <a:lnTo>
                    <a:pt x="17" y="39"/>
                  </a:lnTo>
                  <a:lnTo>
                    <a:pt x="7" y="33"/>
                  </a:lnTo>
                  <a:lnTo>
                    <a:pt x="7" y="26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4" y="18"/>
                  </a:lnTo>
                  <a:lnTo>
                    <a:pt x="33" y="5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6" name="Freeform 79"/>
            <p:cNvSpPr>
              <a:spLocks noChangeAspect="1"/>
            </p:cNvSpPr>
            <p:nvPr/>
          </p:nvSpPr>
          <p:spPr bwMode="auto">
            <a:xfrm>
              <a:off x="3662" y="1994"/>
              <a:ext cx="238" cy="183"/>
            </a:xfrm>
            <a:custGeom>
              <a:avLst/>
              <a:gdLst>
                <a:gd name="T0" fmla="*/ 1264 w 216"/>
                <a:gd name="T1" fmla="*/ 9 h 179"/>
                <a:gd name="T2" fmla="*/ 1357 w 216"/>
                <a:gd name="T3" fmla="*/ 59 h 179"/>
                <a:gd name="T4" fmla="*/ 1524 w 216"/>
                <a:gd name="T5" fmla="*/ 46 h 179"/>
                <a:gd name="T6" fmla="*/ 1672 w 216"/>
                <a:gd name="T7" fmla="*/ 44 h 179"/>
                <a:gd name="T8" fmla="*/ 1761 w 216"/>
                <a:gd name="T9" fmla="*/ 46 h 179"/>
                <a:gd name="T10" fmla="*/ 1727 w 216"/>
                <a:gd name="T11" fmla="*/ 48 h 179"/>
                <a:gd name="T12" fmla="*/ 1551 w 216"/>
                <a:gd name="T13" fmla="*/ 52 h 179"/>
                <a:gd name="T14" fmla="*/ 1419 w 216"/>
                <a:gd name="T15" fmla="*/ 61 h 179"/>
                <a:gd name="T16" fmla="*/ 1419 w 216"/>
                <a:gd name="T17" fmla="*/ 98 h 179"/>
                <a:gd name="T18" fmla="*/ 1357 w 216"/>
                <a:gd name="T19" fmla="*/ 124 h 179"/>
                <a:gd name="T20" fmla="*/ 1264 w 216"/>
                <a:gd name="T21" fmla="*/ 137 h 179"/>
                <a:gd name="T22" fmla="*/ 1264 w 216"/>
                <a:gd name="T23" fmla="*/ 149 h 179"/>
                <a:gd name="T24" fmla="*/ 1194 w 216"/>
                <a:gd name="T25" fmla="*/ 169 h 179"/>
                <a:gd name="T26" fmla="*/ 1177 w 216"/>
                <a:gd name="T27" fmla="*/ 191 h 179"/>
                <a:gd name="T28" fmla="*/ 1147 w 216"/>
                <a:gd name="T29" fmla="*/ 213 h 179"/>
                <a:gd name="T30" fmla="*/ 1080 w 216"/>
                <a:gd name="T31" fmla="*/ 210 h 179"/>
                <a:gd name="T32" fmla="*/ 1004 w 216"/>
                <a:gd name="T33" fmla="*/ 210 h 179"/>
                <a:gd name="T34" fmla="*/ 893 w 216"/>
                <a:gd name="T35" fmla="*/ 220 h 179"/>
                <a:gd name="T36" fmla="*/ 874 w 216"/>
                <a:gd name="T37" fmla="*/ 225 h 179"/>
                <a:gd name="T38" fmla="*/ 826 w 216"/>
                <a:gd name="T39" fmla="*/ 261 h 179"/>
                <a:gd name="T40" fmla="*/ 549 w 216"/>
                <a:gd name="T41" fmla="*/ 274 h 179"/>
                <a:gd name="T42" fmla="*/ 421 w 216"/>
                <a:gd name="T43" fmla="*/ 278 h 179"/>
                <a:gd name="T44" fmla="*/ 136 w 216"/>
                <a:gd name="T45" fmla="*/ 268 h 179"/>
                <a:gd name="T46" fmla="*/ 207 w 216"/>
                <a:gd name="T47" fmla="*/ 235 h 179"/>
                <a:gd name="T48" fmla="*/ 90 w 216"/>
                <a:gd name="T49" fmla="*/ 213 h 179"/>
                <a:gd name="T50" fmla="*/ 2 w 216"/>
                <a:gd name="T51" fmla="*/ 169 h 179"/>
                <a:gd name="T52" fmla="*/ 2 w 216"/>
                <a:gd name="T53" fmla="*/ 152 h 179"/>
                <a:gd name="T54" fmla="*/ 55 w 216"/>
                <a:gd name="T55" fmla="*/ 133 h 179"/>
                <a:gd name="T56" fmla="*/ 55 w 216"/>
                <a:gd name="T57" fmla="*/ 113 h 179"/>
                <a:gd name="T58" fmla="*/ 207 w 216"/>
                <a:gd name="T59" fmla="*/ 102 h 179"/>
                <a:gd name="T60" fmla="*/ 336 w 216"/>
                <a:gd name="T61" fmla="*/ 88 h 179"/>
                <a:gd name="T62" fmla="*/ 491 w 216"/>
                <a:gd name="T63" fmla="*/ 63 h 179"/>
                <a:gd name="T64" fmla="*/ 603 w 216"/>
                <a:gd name="T65" fmla="*/ 46 h 179"/>
                <a:gd name="T66" fmla="*/ 874 w 216"/>
                <a:gd name="T67" fmla="*/ 55 h 179"/>
                <a:gd name="T68" fmla="*/ 1015 w 216"/>
                <a:gd name="T69" fmla="*/ 48 h 179"/>
                <a:gd name="T70" fmla="*/ 1177 w 216"/>
                <a:gd name="T71" fmla="*/ 17 h 179"/>
                <a:gd name="T72" fmla="*/ 1194 w 216"/>
                <a:gd name="T73" fmla="*/ 0 h 17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16"/>
                <a:gd name="T112" fmla="*/ 0 h 179"/>
                <a:gd name="T113" fmla="*/ 216 w 216"/>
                <a:gd name="T114" fmla="*/ 179 h 17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16" h="179">
                  <a:moveTo>
                    <a:pt x="147" y="0"/>
                  </a:moveTo>
                  <a:lnTo>
                    <a:pt x="155" y="9"/>
                  </a:lnTo>
                  <a:lnTo>
                    <a:pt x="160" y="9"/>
                  </a:lnTo>
                  <a:lnTo>
                    <a:pt x="166" y="39"/>
                  </a:lnTo>
                  <a:lnTo>
                    <a:pt x="175" y="32"/>
                  </a:lnTo>
                  <a:lnTo>
                    <a:pt x="186" y="26"/>
                  </a:lnTo>
                  <a:lnTo>
                    <a:pt x="196" y="19"/>
                  </a:lnTo>
                  <a:lnTo>
                    <a:pt x="205" y="24"/>
                  </a:lnTo>
                  <a:lnTo>
                    <a:pt x="209" y="24"/>
                  </a:lnTo>
                  <a:lnTo>
                    <a:pt x="216" y="26"/>
                  </a:lnTo>
                  <a:lnTo>
                    <a:pt x="209" y="26"/>
                  </a:lnTo>
                  <a:lnTo>
                    <a:pt x="211" y="28"/>
                  </a:lnTo>
                  <a:lnTo>
                    <a:pt x="216" y="32"/>
                  </a:lnTo>
                  <a:lnTo>
                    <a:pt x="190" y="32"/>
                  </a:lnTo>
                  <a:lnTo>
                    <a:pt x="181" y="35"/>
                  </a:lnTo>
                  <a:lnTo>
                    <a:pt x="173" y="41"/>
                  </a:lnTo>
                  <a:lnTo>
                    <a:pt x="170" y="47"/>
                  </a:lnTo>
                  <a:lnTo>
                    <a:pt x="173" y="63"/>
                  </a:lnTo>
                  <a:lnTo>
                    <a:pt x="170" y="73"/>
                  </a:lnTo>
                  <a:lnTo>
                    <a:pt x="166" y="80"/>
                  </a:lnTo>
                  <a:lnTo>
                    <a:pt x="170" y="89"/>
                  </a:lnTo>
                  <a:lnTo>
                    <a:pt x="155" y="89"/>
                  </a:lnTo>
                  <a:lnTo>
                    <a:pt x="151" y="89"/>
                  </a:lnTo>
                  <a:lnTo>
                    <a:pt x="155" y="97"/>
                  </a:lnTo>
                  <a:lnTo>
                    <a:pt x="155" y="104"/>
                  </a:lnTo>
                  <a:lnTo>
                    <a:pt x="147" y="108"/>
                  </a:lnTo>
                  <a:lnTo>
                    <a:pt x="147" y="119"/>
                  </a:lnTo>
                  <a:lnTo>
                    <a:pt x="145" y="123"/>
                  </a:lnTo>
                  <a:lnTo>
                    <a:pt x="147" y="134"/>
                  </a:lnTo>
                  <a:lnTo>
                    <a:pt x="140" y="138"/>
                  </a:lnTo>
                  <a:lnTo>
                    <a:pt x="136" y="136"/>
                  </a:lnTo>
                  <a:lnTo>
                    <a:pt x="132" y="136"/>
                  </a:lnTo>
                  <a:lnTo>
                    <a:pt x="125" y="134"/>
                  </a:lnTo>
                  <a:lnTo>
                    <a:pt x="123" y="136"/>
                  </a:lnTo>
                  <a:lnTo>
                    <a:pt x="121" y="142"/>
                  </a:lnTo>
                  <a:lnTo>
                    <a:pt x="110" y="142"/>
                  </a:lnTo>
                  <a:lnTo>
                    <a:pt x="106" y="142"/>
                  </a:lnTo>
                  <a:lnTo>
                    <a:pt x="106" y="145"/>
                  </a:lnTo>
                  <a:lnTo>
                    <a:pt x="101" y="149"/>
                  </a:lnTo>
                  <a:lnTo>
                    <a:pt x="101" y="168"/>
                  </a:lnTo>
                  <a:lnTo>
                    <a:pt x="82" y="173"/>
                  </a:lnTo>
                  <a:lnTo>
                    <a:pt x="67" y="177"/>
                  </a:lnTo>
                  <a:lnTo>
                    <a:pt x="60" y="179"/>
                  </a:lnTo>
                  <a:lnTo>
                    <a:pt x="52" y="179"/>
                  </a:lnTo>
                  <a:lnTo>
                    <a:pt x="41" y="179"/>
                  </a:lnTo>
                  <a:lnTo>
                    <a:pt x="17" y="173"/>
                  </a:lnTo>
                  <a:lnTo>
                    <a:pt x="22" y="160"/>
                  </a:lnTo>
                  <a:lnTo>
                    <a:pt x="26" y="151"/>
                  </a:lnTo>
                  <a:lnTo>
                    <a:pt x="26" y="142"/>
                  </a:lnTo>
                  <a:lnTo>
                    <a:pt x="11" y="138"/>
                  </a:lnTo>
                  <a:lnTo>
                    <a:pt x="11" y="123"/>
                  </a:lnTo>
                  <a:lnTo>
                    <a:pt x="2" y="108"/>
                  </a:lnTo>
                  <a:lnTo>
                    <a:pt x="6" y="104"/>
                  </a:lnTo>
                  <a:lnTo>
                    <a:pt x="2" y="99"/>
                  </a:lnTo>
                  <a:lnTo>
                    <a:pt x="0" y="89"/>
                  </a:lnTo>
                  <a:lnTo>
                    <a:pt x="6" y="86"/>
                  </a:lnTo>
                  <a:lnTo>
                    <a:pt x="2" y="84"/>
                  </a:lnTo>
                  <a:lnTo>
                    <a:pt x="6" y="73"/>
                  </a:lnTo>
                  <a:lnTo>
                    <a:pt x="6" y="58"/>
                  </a:lnTo>
                  <a:lnTo>
                    <a:pt x="26" y="65"/>
                  </a:lnTo>
                  <a:lnTo>
                    <a:pt x="26" y="73"/>
                  </a:lnTo>
                  <a:lnTo>
                    <a:pt x="41" y="58"/>
                  </a:lnTo>
                  <a:lnTo>
                    <a:pt x="37" y="58"/>
                  </a:lnTo>
                  <a:lnTo>
                    <a:pt x="60" y="43"/>
                  </a:lnTo>
                  <a:lnTo>
                    <a:pt x="60" y="28"/>
                  </a:lnTo>
                  <a:lnTo>
                    <a:pt x="73" y="26"/>
                  </a:lnTo>
                  <a:lnTo>
                    <a:pt x="86" y="28"/>
                  </a:lnTo>
                  <a:lnTo>
                    <a:pt x="106" y="35"/>
                  </a:lnTo>
                  <a:lnTo>
                    <a:pt x="123" y="26"/>
                  </a:lnTo>
                  <a:lnTo>
                    <a:pt x="125" y="28"/>
                  </a:lnTo>
                  <a:lnTo>
                    <a:pt x="129" y="24"/>
                  </a:lnTo>
                  <a:lnTo>
                    <a:pt x="145" y="17"/>
                  </a:lnTo>
                  <a:lnTo>
                    <a:pt x="140" y="13"/>
                  </a:lnTo>
                  <a:lnTo>
                    <a:pt x="147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7" name="Freeform 80"/>
            <p:cNvSpPr>
              <a:spLocks noChangeAspect="1"/>
            </p:cNvSpPr>
            <p:nvPr/>
          </p:nvSpPr>
          <p:spPr bwMode="auto">
            <a:xfrm>
              <a:off x="4170" y="2222"/>
              <a:ext cx="90" cy="102"/>
            </a:xfrm>
            <a:custGeom>
              <a:avLst/>
              <a:gdLst>
                <a:gd name="T0" fmla="*/ 195 w 82"/>
                <a:gd name="T1" fmla="*/ 130 h 100"/>
                <a:gd name="T2" fmla="*/ 95 w 82"/>
                <a:gd name="T3" fmla="*/ 74 h 100"/>
                <a:gd name="T4" fmla="*/ 112 w 82"/>
                <a:gd name="T5" fmla="*/ 64 h 100"/>
                <a:gd name="T6" fmla="*/ 4 w 82"/>
                <a:gd name="T7" fmla="*/ 62 h 100"/>
                <a:gd name="T8" fmla="*/ 0 w 82"/>
                <a:gd name="T9" fmla="*/ 55 h 100"/>
                <a:gd name="T10" fmla="*/ 4 w 82"/>
                <a:gd name="T11" fmla="*/ 53 h 100"/>
                <a:gd name="T12" fmla="*/ 4 w 82"/>
                <a:gd name="T13" fmla="*/ 24 h 100"/>
                <a:gd name="T14" fmla="*/ 112 w 82"/>
                <a:gd name="T15" fmla="*/ 24 h 100"/>
                <a:gd name="T16" fmla="*/ 72 w 82"/>
                <a:gd name="T17" fmla="*/ 20 h 100"/>
                <a:gd name="T18" fmla="*/ 4 w 82"/>
                <a:gd name="T19" fmla="*/ 20 h 100"/>
                <a:gd name="T20" fmla="*/ 0 w 82"/>
                <a:gd name="T21" fmla="*/ 13 h 100"/>
                <a:gd name="T22" fmla="*/ 4 w 82"/>
                <a:gd name="T23" fmla="*/ 0 h 100"/>
                <a:gd name="T24" fmla="*/ 72 w 82"/>
                <a:gd name="T25" fmla="*/ 0 h 100"/>
                <a:gd name="T26" fmla="*/ 148 w 82"/>
                <a:gd name="T27" fmla="*/ 9 h 100"/>
                <a:gd name="T28" fmla="*/ 214 w 82"/>
                <a:gd name="T29" fmla="*/ 13 h 100"/>
                <a:gd name="T30" fmla="*/ 235 w 82"/>
                <a:gd name="T31" fmla="*/ 24 h 100"/>
                <a:gd name="T32" fmla="*/ 214 w 82"/>
                <a:gd name="T33" fmla="*/ 24 h 100"/>
                <a:gd name="T34" fmla="*/ 504 w 82"/>
                <a:gd name="T35" fmla="*/ 24 h 100"/>
                <a:gd name="T36" fmla="*/ 527 w 82"/>
                <a:gd name="T37" fmla="*/ 49 h 100"/>
                <a:gd name="T38" fmla="*/ 504 w 82"/>
                <a:gd name="T39" fmla="*/ 53 h 100"/>
                <a:gd name="T40" fmla="*/ 504 w 82"/>
                <a:gd name="T41" fmla="*/ 59 h 100"/>
                <a:gd name="T42" fmla="*/ 418 w 82"/>
                <a:gd name="T43" fmla="*/ 62 h 100"/>
                <a:gd name="T44" fmla="*/ 410 w 82"/>
                <a:gd name="T45" fmla="*/ 68 h 100"/>
                <a:gd name="T46" fmla="*/ 374 w 82"/>
                <a:gd name="T47" fmla="*/ 70 h 100"/>
                <a:gd name="T48" fmla="*/ 410 w 82"/>
                <a:gd name="T49" fmla="*/ 91 h 100"/>
                <a:gd name="T50" fmla="*/ 418 w 82"/>
                <a:gd name="T51" fmla="*/ 91 h 100"/>
                <a:gd name="T52" fmla="*/ 457 w 82"/>
                <a:gd name="T53" fmla="*/ 95 h 100"/>
                <a:gd name="T54" fmla="*/ 470 w 82"/>
                <a:gd name="T55" fmla="*/ 95 h 100"/>
                <a:gd name="T56" fmla="*/ 527 w 82"/>
                <a:gd name="T57" fmla="*/ 79 h 100"/>
                <a:gd name="T58" fmla="*/ 527 w 82"/>
                <a:gd name="T59" fmla="*/ 95 h 100"/>
                <a:gd name="T60" fmla="*/ 566 w 82"/>
                <a:gd name="T61" fmla="*/ 109 h 100"/>
                <a:gd name="T62" fmla="*/ 595 w 82"/>
                <a:gd name="T63" fmla="*/ 120 h 100"/>
                <a:gd name="T64" fmla="*/ 621 w 82"/>
                <a:gd name="T65" fmla="*/ 147 h 100"/>
                <a:gd name="T66" fmla="*/ 566 w 82"/>
                <a:gd name="T67" fmla="*/ 144 h 100"/>
                <a:gd name="T68" fmla="*/ 541 w 82"/>
                <a:gd name="T69" fmla="*/ 147 h 100"/>
                <a:gd name="T70" fmla="*/ 527 w 82"/>
                <a:gd name="T71" fmla="*/ 130 h 100"/>
                <a:gd name="T72" fmla="*/ 504 w 82"/>
                <a:gd name="T73" fmla="*/ 118 h 100"/>
                <a:gd name="T74" fmla="*/ 418 w 82"/>
                <a:gd name="T75" fmla="*/ 105 h 100"/>
                <a:gd name="T76" fmla="*/ 341 w 82"/>
                <a:gd name="T77" fmla="*/ 95 h 100"/>
                <a:gd name="T78" fmla="*/ 341 w 82"/>
                <a:gd name="T79" fmla="*/ 79 h 100"/>
                <a:gd name="T80" fmla="*/ 258 w 82"/>
                <a:gd name="T81" fmla="*/ 74 h 100"/>
                <a:gd name="T82" fmla="*/ 258 w 82"/>
                <a:gd name="T83" fmla="*/ 83 h 100"/>
                <a:gd name="T84" fmla="*/ 311 w 82"/>
                <a:gd name="T85" fmla="*/ 83 h 100"/>
                <a:gd name="T86" fmla="*/ 341 w 82"/>
                <a:gd name="T87" fmla="*/ 105 h 100"/>
                <a:gd name="T88" fmla="*/ 311 w 82"/>
                <a:gd name="T89" fmla="*/ 109 h 100"/>
                <a:gd name="T90" fmla="*/ 341 w 82"/>
                <a:gd name="T91" fmla="*/ 118 h 100"/>
                <a:gd name="T92" fmla="*/ 311 w 82"/>
                <a:gd name="T93" fmla="*/ 130 h 100"/>
                <a:gd name="T94" fmla="*/ 258 w 82"/>
                <a:gd name="T95" fmla="*/ 120 h 100"/>
                <a:gd name="T96" fmla="*/ 258 w 82"/>
                <a:gd name="T97" fmla="*/ 118 h 100"/>
                <a:gd name="T98" fmla="*/ 235 w 82"/>
                <a:gd name="T99" fmla="*/ 120 h 100"/>
                <a:gd name="T100" fmla="*/ 258 w 82"/>
                <a:gd name="T101" fmla="*/ 130 h 100"/>
                <a:gd name="T102" fmla="*/ 214 w 82"/>
                <a:gd name="T103" fmla="*/ 130 h 100"/>
                <a:gd name="T104" fmla="*/ 195 w 82"/>
                <a:gd name="T105" fmla="*/ 130 h 1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2"/>
                <a:gd name="T160" fmla="*/ 0 h 100"/>
                <a:gd name="T161" fmla="*/ 82 w 82"/>
                <a:gd name="T162" fmla="*/ 100 h 1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2" h="100">
                  <a:moveTo>
                    <a:pt x="26" y="89"/>
                  </a:moveTo>
                  <a:lnTo>
                    <a:pt x="13" y="54"/>
                  </a:lnTo>
                  <a:lnTo>
                    <a:pt x="15" y="44"/>
                  </a:lnTo>
                  <a:lnTo>
                    <a:pt x="4" y="42"/>
                  </a:lnTo>
                  <a:lnTo>
                    <a:pt x="0" y="35"/>
                  </a:lnTo>
                  <a:lnTo>
                    <a:pt x="4" y="33"/>
                  </a:lnTo>
                  <a:lnTo>
                    <a:pt x="4" y="24"/>
                  </a:lnTo>
                  <a:lnTo>
                    <a:pt x="15" y="24"/>
                  </a:lnTo>
                  <a:lnTo>
                    <a:pt x="10" y="20"/>
                  </a:lnTo>
                  <a:lnTo>
                    <a:pt x="4" y="20"/>
                  </a:lnTo>
                  <a:lnTo>
                    <a:pt x="0" y="13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9" y="9"/>
                  </a:lnTo>
                  <a:lnTo>
                    <a:pt x="28" y="13"/>
                  </a:lnTo>
                  <a:lnTo>
                    <a:pt x="30" y="24"/>
                  </a:lnTo>
                  <a:lnTo>
                    <a:pt x="28" y="24"/>
                  </a:lnTo>
                  <a:lnTo>
                    <a:pt x="67" y="24"/>
                  </a:lnTo>
                  <a:lnTo>
                    <a:pt x="69" y="29"/>
                  </a:lnTo>
                  <a:lnTo>
                    <a:pt x="67" y="33"/>
                  </a:lnTo>
                  <a:lnTo>
                    <a:pt x="67" y="39"/>
                  </a:lnTo>
                  <a:lnTo>
                    <a:pt x="56" y="42"/>
                  </a:lnTo>
                  <a:lnTo>
                    <a:pt x="54" y="48"/>
                  </a:lnTo>
                  <a:lnTo>
                    <a:pt x="49" y="50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60" y="65"/>
                  </a:lnTo>
                  <a:lnTo>
                    <a:pt x="62" y="65"/>
                  </a:lnTo>
                  <a:lnTo>
                    <a:pt x="69" y="57"/>
                  </a:lnTo>
                  <a:lnTo>
                    <a:pt x="69" y="65"/>
                  </a:lnTo>
                  <a:lnTo>
                    <a:pt x="75" y="72"/>
                  </a:lnTo>
                  <a:lnTo>
                    <a:pt x="79" y="80"/>
                  </a:lnTo>
                  <a:lnTo>
                    <a:pt x="82" y="100"/>
                  </a:lnTo>
                  <a:lnTo>
                    <a:pt x="75" y="98"/>
                  </a:lnTo>
                  <a:lnTo>
                    <a:pt x="71" y="100"/>
                  </a:lnTo>
                  <a:lnTo>
                    <a:pt x="69" y="89"/>
                  </a:lnTo>
                  <a:lnTo>
                    <a:pt x="67" y="78"/>
                  </a:lnTo>
                  <a:lnTo>
                    <a:pt x="56" y="70"/>
                  </a:lnTo>
                  <a:lnTo>
                    <a:pt x="45" y="65"/>
                  </a:lnTo>
                  <a:lnTo>
                    <a:pt x="45" y="57"/>
                  </a:lnTo>
                  <a:lnTo>
                    <a:pt x="34" y="54"/>
                  </a:lnTo>
                  <a:lnTo>
                    <a:pt x="34" y="59"/>
                  </a:lnTo>
                  <a:lnTo>
                    <a:pt x="41" y="59"/>
                  </a:lnTo>
                  <a:lnTo>
                    <a:pt x="45" y="70"/>
                  </a:lnTo>
                  <a:lnTo>
                    <a:pt x="41" y="72"/>
                  </a:lnTo>
                  <a:lnTo>
                    <a:pt x="45" y="78"/>
                  </a:lnTo>
                  <a:lnTo>
                    <a:pt x="41" y="89"/>
                  </a:lnTo>
                  <a:lnTo>
                    <a:pt x="34" y="80"/>
                  </a:lnTo>
                  <a:lnTo>
                    <a:pt x="34" y="78"/>
                  </a:lnTo>
                  <a:lnTo>
                    <a:pt x="30" y="80"/>
                  </a:lnTo>
                  <a:lnTo>
                    <a:pt x="34" y="89"/>
                  </a:lnTo>
                  <a:lnTo>
                    <a:pt x="28" y="89"/>
                  </a:lnTo>
                  <a:lnTo>
                    <a:pt x="26" y="8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8" name="Freeform 81"/>
            <p:cNvSpPr>
              <a:spLocks noChangeAspect="1"/>
            </p:cNvSpPr>
            <p:nvPr/>
          </p:nvSpPr>
          <p:spPr bwMode="auto">
            <a:xfrm>
              <a:off x="4176" y="2192"/>
              <a:ext cx="60" cy="26"/>
            </a:xfrm>
            <a:custGeom>
              <a:avLst/>
              <a:gdLst>
                <a:gd name="T0" fmla="*/ 0 w 54"/>
                <a:gd name="T1" fmla="*/ 13 h 26"/>
                <a:gd name="T2" fmla="*/ 108 w 54"/>
                <a:gd name="T3" fmla="*/ 11 h 26"/>
                <a:gd name="T4" fmla="*/ 124 w 54"/>
                <a:gd name="T5" fmla="*/ 0 h 26"/>
                <a:gd name="T6" fmla="*/ 227 w 54"/>
                <a:gd name="T7" fmla="*/ 5 h 26"/>
                <a:gd name="T8" fmla="*/ 346 w 54"/>
                <a:gd name="T9" fmla="*/ 5 h 26"/>
                <a:gd name="T10" fmla="*/ 384 w 54"/>
                <a:gd name="T11" fmla="*/ 0 h 26"/>
                <a:gd name="T12" fmla="*/ 422 w 54"/>
                <a:gd name="T13" fmla="*/ 7 h 26"/>
                <a:gd name="T14" fmla="*/ 422 w 54"/>
                <a:gd name="T15" fmla="*/ 13 h 26"/>
                <a:gd name="T16" fmla="*/ 489 w 54"/>
                <a:gd name="T17" fmla="*/ 15 h 26"/>
                <a:gd name="T18" fmla="*/ 527 w 54"/>
                <a:gd name="T19" fmla="*/ 26 h 26"/>
                <a:gd name="T20" fmla="*/ 280 w 54"/>
                <a:gd name="T21" fmla="*/ 26 h 26"/>
                <a:gd name="T22" fmla="*/ 280 w 54"/>
                <a:gd name="T23" fmla="*/ 24 h 26"/>
                <a:gd name="T24" fmla="*/ 202 w 54"/>
                <a:gd name="T25" fmla="*/ 26 h 26"/>
                <a:gd name="T26" fmla="*/ 87 w 54"/>
                <a:gd name="T27" fmla="*/ 24 h 26"/>
                <a:gd name="T28" fmla="*/ 0 w 54"/>
                <a:gd name="T29" fmla="*/ 20 h 26"/>
                <a:gd name="T30" fmla="*/ 0 w 54"/>
                <a:gd name="T31" fmla="*/ 13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26"/>
                <a:gd name="T50" fmla="*/ 54 w 54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26">
                  <a:moveTo>
                    <a:pt x="0" y="13"/>
                  </a:moveTo>
                  <a:lnTo>
                    <a:pt x="11" y="11"/>
                  </a:lnTo>
                  <a:lnTo>
                    <a:pt x="13" y="0"/>
                  </a:lnTo>
                  <a:lnTo>
                    <a:pt x="24" y="5"/>
                  </a:lnTo>
                  <a:lnTo>
                    <a:pt x="35" y="5"/>
                  </a:lnTo>
                  <a:lnTo>
                    <a:pt x="39" y="0"/>
                  </a:lnTo>
                  <a:lnTo>
                    <a:pt x="43" y="7"/>
                  </a:lnTo>
                  <a:lnTo>
                    <a:pt x="43" y="13"/>
                  </a:lnTo>
                  <a:lnTo>
                    <a:pt x="50" y="15"/>
                  </a:lnTo>
                  <a:lnTo>
                    <a:pt x="54" y="26"/>
                  </a:lnTo>
                  <a:lnTo>
                    <a:pt x="28" y="26"/>
                  </a:lnTo>
                  <a:lnTo>
                    <a:pt x="28" y="24"/>
                  </a:lnTo>
                  <a:lnTo>
                    <a:pt x="20" y="26"/>
                  </a:lnTo>
                  <a:lnTo>
                    <a:pt x="9" y="24"/>
                  </a:lnTo>
                  <a:lnTo>
                    <a:pt x="0" y="2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89" name="Freeform 82"/>
            <p:cNvSpPr>
              <a:spLocks noChangeAspect="1"/>
            </p:cNvSpPr>
            <p:nvPr/>
          </p:nvSpPr>
          <p:spPr bwMode="auto">
            <a:xfrm>
              <a:off x="4248" y="2188"/>
              <a:ext cx="164" cy="333"/>
            </a:xfrm>
            <a:custGeom>
              <a:avLst/>
              <a:gdLst>
                <a:gd name="T0" fmla="*/ 108 w 149"/>
                <a:gd name="T1" fmla="*/ 154 h 328"/>
                <a:gd name="T2" fmla="*/ 119 w 149"/>
                <a:gd name="T3" fmla="*/ 139 h 328"/>
                <a:gd name="T4" fmla="*/ 200 w 149"/>
                <a:gd name="T5" fmla="*/ 109 h 328"/>
                <a:gd name="T6" fmla="*/ 238 w 149"/>
                <a:gd name="T7" fmla="*/ 80 h 328"/>
                <a:gd name="T8" fmla="*/ 309 w 149"/>
                <a:gd name="T9" fmla="*/ 70 h 328"/>
                <a:gd name="T10" fmla="*/ 390 w 149"/>
                <a:gd name="T11" fmla="*/ 24 h 328"/>
                <a:gd name="T12" fmla="*/ 513 w 149"/>
                <a:gd name="T13" fmla="*/ 24 h 328"/>
                <a:gd name="T14" fmla="*/ 513 w 149"/>
                <a:gd name="T15" fmla="*/ 11 h 328"/>
                <a:gd name="T16" fmla="*/ 562 w 149"/>
                <a:gd name="T17" fmla="*/ 6 h 328"/>
                <a:gd name="T18" fmla="*/ 627 w 149"/>
                <a:gd name="T19" fmla="*/ 0 h 328"/>
                <a:gd name="T20" fmla="*/ 693 w 149"/>
                <a:gd name="T21" fmla="*/ 15 h 328"/>
                <a:gd name="T22" fmla="*/ 796 w 149"/>
                <a:gd name="T23" fmla="*/ 65 h 328"/>
                <a:gd name="T24" fmla="*/ 754 w 149"/>
                <a:gd name="T25" fmla="*/ 74 h 328"/>
                <a:gd name="T26" fmla="*/ 665 w 149"/>
                <a:gd name="T27" fmla="*/ 80 h 328"/>
                <a:gd name="T28" fmla="*/ 627 w 149"/>
                <a:gd name="T29" fmla="*/ 89 h 328"/>
                <a:gd name="T30" fmla="*/ 693 w 149"/>
                <a:gd name="T31" fmla="*/ 109 h 328"/>
                <a:gd name="T32" fmla="*/ 754 w 149"/>
                <a:gd name="T33" fmla="*/ 101 h 328"/>
                <a:gd name="T34" fmla="*/ 821 w 149"/>
                <a:gd name="T35" fmla="*/ 109 h 328"/>
                <a:gd name="T36" fmla="*/ 862 w 149"/>
                <a:gd name="T37" fmla="*/ 139 h 328"/>
                <a:gd name="T38" fmla="*/ 949 w 149"/>
                <a:gd name="T39" fmla="*/ 148 h 328"/>
                <a:gd name="T40" fmla="*/ 1018 w 149"/>
                <a:gd name="T41" fmla="*/ 159 h 328"/>
                <a:gd name="T42" fmla="*/ 1018 w 149"/>
                <a:gd name="T43" fmla="*/ 165 h 328"/>
                <a:gd name="T44" fmla="*/ 1102 w 149"/>
                <a:gd name="T45" fmla="*/ 171 h 328"/>
                <a:gd name="T46" fmla="*/ 1120 w 149"/>
                <a:gd name="T47" fmla="*/ 176 h 328"/>
                <a:gd name="T48" fmla="*/ 1120 w 149"/>
                <a:gd name="T49" fmla="*/ 185 h 328"/>
                <a:gd name="T50" fmla="*/ 1063 w 149"/>
                <a:gd name="T51" fmla="*/ 195 h 328"/>
                <a:gd name="T52" fmla="*/ 965 w 149"/>
                <a:gd name="T53" fmla="*/ 207 h 328"/>
                <a:gd name="T54" fmla="*/ 949 w 149"/>
                <a:gd name="T55" fmla="*/ 210 h 328"/>
                <a:gd name="T56" fmla="*/ 796 w 149"/>
                <a:gd name="T57" fmla="*/ 221 h 328"/>
                <a:gd name="T58" fmla="*/ 754 w 149"/>
                <a:gd name="T59" fmla="*/ 239 h 328"/>
                <a:gd name="T60" fmla="*/ 732 w 149"/>
                <a:gd name="T61" fmla="*/ 247 h 328"/>
                <a:gd name="T62" fmla="*/ 796 w 149"/>
                <a:gd name="T63" fmla="*/ 256 h 328"/>
                <a:gd name="T64" fmla="*/ 909 w 149"/>
                <a:gd name="T65" fmla="*/ 288 h 328"/>
                <a:gd name="T66" fmla="*/ 909 w 149"/>
                <a:gd name="T67" fmla="*/ 308 h 328"/>
                <a:gd name="T68" fmla="*/ 877 w 149"/>
                <a:gd name="T69" fmla="*/ 328 h 328"/>
                <a:gd name="T70" fmla="*/ 1007 w 149"/>
                <a:gd name="T71" fmla="*/ 361 h 328"/>
                <a:gd name="T72" fmla="*/ 1063 w 149"/>
                <a:gd name="T73" fmla="*/ 399 h 328"/>
                <a:gd name="T74" fmla="*/ 976 w 149"/>
                <a:gd name="T75" fmla="*/ 428 h 328"/>
                <a:gd name="T76" fmla="*/ 965 w 149"/>
                <a:gd name="T77" fmla="*/ 443 h 328"/>
                <a:gd name="T78" fmla="*/ 965 w 149"/>
                <a:gd name="T79" fmla="*/ 423 h 328"/>
                <a:gd name="T80" fmla="*/ 949 w 149"/>
                <a:gd name="T81" fmla="*/ 405 h 328"/>
                <a:gd name="T82" fmla="*/ 965 w 149"/>
                <a:gd name="T83" fmla="*/ 375 h 328"/>
                <a:gd name="T84" fmla="*/ 877 w 149"/>
                <a:gd name="T85" fmla="*/ 361 h 328"/>
                <a:gd name="T86" fmla="*/ 840 w 149"/>
                <a:gd name="T87" fmla="*/ 342 h 328"/>
                <a:gd name="T88" fmla="*/ 796 w 149"/>
                <a:gd name="T89" fmla="*/ 303 h 328"/>
                <a:gd name="T90" fmla="*/ 732 w 149"/>
                <a:gd name="T91" fmla="*/ 288 h 328"/>
                <a:gd name="T92" fmla="*/ 693 w 149"/>
                <a:gd name="T93" fmla="*/ 274 h 328"/>
                <a:gd name="T94" fmla="*/ 665 w 149"/>
                <a:gd name="T95" fmla="*/ 288 h 328"/>
                <a:gd name="T96" fmla="*/ 513 w 149"/>
                <a:gd name="T97" fmla="*/ 308 h 328"/>
                <a:gd name="T98" fmla="*/ 449 w 149"/>
                <a:gd name="T99" fmla="*/ 308 h 328"/>
                <a:gd name="T100" fmla="*/ 449 w 149"/>
                <a:gd name="T101" fmla="*/ 308 h 328"/>
                <a:gd name="T102" fmla="*/ 390 w 149"/>
                <a:gd name="T103" fmla="*/ 303 h 328"/>
                <a:gd name="T104" fmla="*/ 340 w 149"/>
                <a:gd name="T105" fmla="*/ 279 h 328"/>
                <a:gd name="T106" fmla="*/ 340 w 149"/>
                <a:gd name="T107" fmla="*/ 247 h 328"/>
                <a:gd name="T108" fmla="*/ 266 w 149"/>
                <a:gd name="T109" fmla="*/ 236 h 328"/>
                <a:gd name="T110" fmla="*/ 238 w 149"/>
                <a:gd name="T111" fmla="*/ 228 h 328"/>
                <a:gd name="T112" fmla="*/ 200 w 149"/>
                <a:gd name="T113" fmla="*/ 218 h 328"/>
                <a:gd name="T114" fmla="*/ 158 w 149"/>
                <a:gd name="T115" fmla="*/ 201 h 328"/>
                <a:gd name="T116" fmla="*/ 89 w 149"/>
                <a:gd name="T117" fmla="*/ 198 h 328"/>
                <a:gd name="T118" fmla="*/ 4 w 149"/>
                <a:gd name="T119" fmla="*/ 176 h 328"/>
                <a:gd name="T120" fmla="*/ 67 w 149"/>
                <a:gd name="T121" fmla="*/ 154 h 3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9"/>
                <a:gd name="T184" fmla="*/ 0 h 328"/>
                <a:gd name="T185" fmla="*/ 149 w 149"/>
                <a:gd name="T186" fmla="*/ 328 h 3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9" h="328">
                  <a:moveTo>
                    <a:pt x="8" y="114"/>
                  </a:moveTo>
                  <a:lnTo>
                    <a:pt x="13" y="114"/>
                  </a:lnTo>
                  <a:lnTo>
                    <a:pt x="11" y="99"/>
                  </a:lnTo>
                  <a:lnTo>
                    <a:pt x="15" y="99"/>
                  </a:lnTo>
                  <a:lnTo>
                    <a:pt x="15" y="84"/>
                  </a:lnTo>
                  <a:lnTo>
                    <a:pt x="26" y="84"/>
                  </a:lnTo>
                  <a:lnTo>
                    <a:pt x="30" y="71"/>
                  </a:lnTo>
                  <a:lnTo>
                    <a:pt x="30" y="60"/>
                  </a:lnTo>
                  <a:lnTo>
                    <a:pt x="30" y="54"/>
                  </a:lnTo>
                  <a:lnTo>
                    <a:pt x="39" y="50"/>
                  </a:lnTo>
                  <a:lnTo>
                    <a:pt x="39" y="37"/>
                  </a:lnTo>
                  <a:lnTo>
                    <a:pt x="50" y="24"/>
                  </a:lnTo>
                  <a:lnTo>
                    <a:pt x="62" y="22"/>
                  </a:lnTo>
                  <a:lnTo>
                    <a:pt x="65" y="24"/>
                  </a:lnTo>
                  <a:lnTo>
                    <a:pt x="69" y="22"/>
                  </a:lnTo>
                  <a:lnTo>
                    <a:pt x="65" y="11"/>
                  </a:lnTo>
                  <a:lnTo>
                    <a:pt x="69" y="6"/>
                  </a:lnTo>
                  <a:lnTo>
                    <a:pt x="71" y="6"/>
                  </a:lnTo>
                  <a:lnTo>
                    <a:pt x="71" y="0"/>
                  </a:lnTo>
                  <a:lnTo>
                    <a:pt x="80" y="0"/>
                  </a:lnTo>
                  <a:lnTo>
                    <a:pt x="88" y="9"/>
                  </a:lnTo>
                  <a:lnTo>
                    <a:pt x="88" y="15"/>
                  </a:lnTo>
                  <a:lnTo>
                    <a:pt x="93" y="15"/>
                  </a:lnTo>
                  <a:lnTo>
                    <a:pt x="99" y="45"/>
                  </a:lnTo>
                  <a:lnTo>
                    <a:pt x="95" y="54"/>
                  </a:lnTo>
                  <a:lnTo>
                    <a:pt x="93" y="54"/>
                  </a:lnTo>
                  <a:lnTo>
                    <a:pt x="84" y="60"/>
                  </a:lnTo>
                  <a:lnTo>
                    <a:pt x="88" y="69"/>
                  </a:lnTo>
                  <a:lnTo>
                    <a:pt x="80" y="69"/>
                  </a:lnTo>
                  <a:lnTo>
                    <a:pt x="84" y="76"/>
                  </a:lnTo>
                  <a:lnTo>
                    <a:pt x="88" y="84"/>
                  </a:lnTo>
                  <a:lnTo>
                    <a:pt x="93" y="80"/>
                  </a:lnTo>
                  <a:lnTo>
                    <a:pt x="95" y="80"/>
                  </a:lnTo>
                  <a:lnTo>
                    <a:pt x="106" y="80"/>
                  </a:lnTo>
                  <a:lnTo>
                    <a:pt x="103" y="84"/>
                  </a:lnTo>
                  <a:lnTo>
                    <a:pt x="106" y="86"/>
                  </a:lnTo>
                  <a:lnTo>
                    <a:pt x="108" y="99"/>
                  </a:lnTo>
                  <a:lnTo>
                    <a:pt x="119" y="99"/>
                  </a:lnTo>
                  <a:lnTo>
                    <a:pt x="119" y="108"/>
                  </a:lnTo>
                  <a:lnTo>
                    <a:pt x="114" y="114"/>
                  </a:lnTo>
                  <a:lnTo>
                    <a:pt x="129" y="119"/>
                  </a:lnTo>
                  <a:lnTo>
                    <a:pt x="129" y="123"/>
                  </a:lnTo>
                  <a:lnTo>
                    <a:pt x="129" y="125"/>
                  </a:lnTo>
                  <a:lnTo>
                    <a:pt x="134" y="125"/>
                  </a:lnTo>
                  <a:lnTo>
                    <a:pt x="138" y="129"/>
                  </a:lnTo>
                  <a:lnTo>
                    <a:pt x="149" y="129"/>
                  </a:lnTo>
                  <a:lnTo>
                    <a:pt x="142" y="132"/>
                  </a:lnTo>
                  <a:lnTo>
                    <a:pt x="138" y="134"/>
                  </a:lnTo>
                  <a:lnTo>
                    <a:pt x="142" y="138"/>
                  </a:lnTo>
                  <a:lnTo>
                    <a:pt x="136" y="140"/>
                  </a:lnTo>
                  <a:lnTo>
                    <a:pt x="134" y="145"/>
                  </a:lnTo>
                  <a:lnTo>
                    <a:pt x="123" y="147"/>
                  </a:lnTo>
                  <a:lnTo>
                    <a:pt x="121" y="153"/>
                  </a:lnTo>
                  <a:lnTo>
                    <a:pt x="114" y="149"/>
                  </a:lnTo>
                  <a:lnTo>
                    <a:pt x="119" y="155"/>
                  </a:lnTo>
                  <a:lnTo>
                    <a:pt x="103" y="160"/>
                  </a:lnTo>
                  <a:lnTo>
                    <a:pt x="99" y="162"/>
                  </a:lnTo>
                  <a:lnTo>
                    <a:pt x="95" y="168"/>
                  </a:lnTo>
                  <a:lnTo>
                    <a:pt x="95" y="177"/>
                  </a:lnTo>
                  <a:lnTo>
                    <a:pt x="93" y="179"/>
                  </a:lnTo>
                  <a:lnTo>
                    <a:pt x="93" y="183"/>
                  </a:lnTo>
                  <a:lnTo>
                    <a:pt x="95" y="183"/>
                  </a:lnTo>
                  <a:lnTo>
                    <a:pt x="99" y="190"/>
                  </a:lnTo>
                  <a:lnTo>
                    <a:pt x="110" y="207"/>
                  </a:lnTo>
                  <a:lnTo>
                    <a:pt x="114" y="214"/>
                  </a:lnTo>
                  <a:lnTo>
                    <a:pt x="119" y="224"/>
                  </a:lnTo>
                  <a:lnTo>
                    <a:pt x="114" y="227"/>
                  </a:lnTo>
                  <a:lnTo>
                    <a:pt x="114" y="235"/>
                  </a:lnTo>
                  <a:lnTo>
                    <a:pt x="110" y="242"/>
                  </a:lnTo>
                  <a:lnTo>
                    <a:pt x="110" y="248"/>
                  </a:lnTo>
                  <a:lnTo>
                    <a:pt x="127" y="268"/>
                  </a:lnTo>
                  <a:lnTo>
                    <a:pt x="127" y="274"/>
                  </a:lnTo>
                  <a:lnTo>
                    <a:pt x="134" y="294"/>
                  </a:lnTo>
                  <a:lnTo>
                    <a:pt x="129" y="302"/>
                  </a:lnTo>
                  <a:lnTo>
                    <a:pt x="123" y="317"/>
                  </a:lnTo>
                  <a:lnTo>
                    <a:pt x="123" y="324"/>
                  </a:lnTo>
                  <a:lnTo>
                    <a:pt x="121" y="328"/>
                  </a:lnTo>
                  <a:lnTo>
                    <a:pt x="119" y="317"/>
                  </a:lnTo>
                  <a:lnTo>
                    <a:pt x="121" y="313"/>
                  </a:lnTo>
                  <a:lnTo>
                    <a:pt x="121" y="298"/>
                  </a:lnTo>
                  <a:lnTo>
                    <a:pt x="119" y="298"/>
                  </a:lnTo>
                  <a:lnTo>
                    <a:pt x="121" y="294"/>
                  </a:lnTo>
                  <a:lnTo>
                    <a:pt x="121" y="278"/>
                  </a:lnTo>
                  <a:lnTo>
                    <a:pt x="110" y="259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6" y="253"/>
                  </a:lnTo>
                  <a:lnTo>
                    <a:pt x="103" y="235"/>
                  </a:lnTo>
                  <a:lnTo>
                    <a:pt x="99" y="224"/>
                  </a:lnTo>
                  <a:lnTo>
                    <a:pt x="99" y="214"/>
                  </a:lnTo>
                  <a:lnTo>
                    <a:pt x="93" y="214"/>
                  </a:lnTo>
                  <a:lnTo>
                    <a:pt x="88" y="207"/>
                  </a:lnTo>
                  <a:lnTo>
                    <a:pt x="88" y="203"/>
                  </a:lnTo>
                  <a:lnTo>
                    <a:pt x="84" y="205"/>
                  </a:lnTo>
                  <a:lnTo>
                    <a:pt x="84" y="214"/>
                  </a:lnTo>
                  <a:lnTo>
                    <a:pt x="78" y="220"/>
                  </a:lnTo>
                  <a:lnTo>
                    <a:pt x="65" y="227"/>
                  </a:lnTo>
                  <a:lnTo>
                    <a:pt x="62" y="229"/>
                  </a:lnTo>
                  <a:lnTo>
                    <a:pt x="56" y="227"/>
                  </a:lnTo>
                  <a:lnTo>
                    <a:pt x="58" y="224"/>
                  </a:lnTo>
                  <a:lnTo>
                    <a:pt x="56" y="227"/>
                  </a:lnTo>
                  <a:lnTo>
                    <a:pt x="50" y="227"/>
                  </a:lnTo>
                  <a:lnTo>
                    <a:pt x="50" y="224"/>
                  </a:lnTo>
                  <a:lnTo>
                    <a:pt x="43" y="227"/>
                  </a:lnTo>
                  <a:lnTo>
                    <a:pt x="43" y="207"/>
                  </a:lnTo>
                  <a:lnTo>
                    <a:pt x="47" y="192"/>
                  </a:lnTo>
                  <a:lnTo>
                    <a:pt x="43" y="183"/>
                  </a:lnTo>
                  <a:lnTo>
                    <a:pt x="34" y="173"/>
                  </a:lnTo>
                  <a:lnTo>
                    <a:pt x="34" y="175"/>
                  </a:lnTo>
                  <a:lnTo>
                    <a:pt x="26" y="164"/>
                  </a:lnTo>
                  <a:lnTo>
                    <a:pt x="30" y="168"/>
                  </a:lnTo>
                  <a:lnTo>
                    <a:pt x="34" y="164"/>
                  </a:lnTo>
                  <a:lnTo>
                    <a:pt x="26" y="160"/>
                  </a:lnTo>
                  <a:lnTo>
                    <a:pt x="24" y="153"/>
                  </a:lnTo>
                  <a:lnTo>
                    <a:pt x="19" y="149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0" y="134"/>
                  </a:lnTo>
                  <a:lnTo>
                    <a:pt x="4" y="132"/>
                  </a:lnTo>
                  <a:lnTo>
                    <a:pt x="11" y="134"/>
                  </a:lnTo>
                  <a:lnTo>
                    <a:pt x="8" y="11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0" name="Freeform 83"/>
            <p:cNvSpPr>
              <a:spLocks noChangeAspect="1"/>
            </p:cNvSpPr>
            <p:nvPr/>
          </p:nvSpPr>
          <p:spPr bwMode="auto">
            <a:xfrm>
              <a:off x="4668" y="2607"/>
              <a:ext cx="17" cy="20"/>
            </a:xfrm>
            <a:custGeom>
              <a:avLst/>
              <a:gdLst>
                <a:gd name="T0" fmla="*/ 0 w 15"/>
                <a:gd name="T1" fmla="*/ 7 h 20"/>
                <a:gd name="T2" fmla="*/ 113 w 15"/>
                <a:gd name="T3" fmla="*/ 0 h 20"/>
                <a:gd name="T4" fmla="*/ 113 w 15"/>
                <a:gd name="T5" fmla="*/ 7 h 20"/>
                <a:gd name="T6" fmla="*/ 233 w 15"/>
                <a:gd name="T7" fmla="*/ 13 h 20"/>
                <a:gd name="T8" fmla="*/ 113 w 15"/>
                <a:gd name="T9" fmla="*/ 13 h 20"/>
                <a:gd name="T10" fmla="*/ 2 w 15"/>
                <a:gd name="T11" fmla="*/ 20 h 20"/>
                <a:gd name="T12" fmla="*/ 0 w 15"/>
                <a:gd name="T13" fmla="*/ 7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20"/>
                <a:gd name="T23" fmla="*/ 15 w 15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20">
                  <a:moveTo>
                    <a:pt x="0" y="7"/>
                  </a:moveTo>
                  <a:lnTo>
                    <a:pt x="8" y="0"/>
                  </a:lnTo>
                  <a:lnTo>
                    <a:pt x="8" y="7"/>
                  </a:lnTo>
                  <a:lnTo>
                    <a:pt x="15" y="13"/>
                  </a:lnTo>
                  <a:lnTo>
                    <a:pt x="8" y="13"/>
                  </a:lnTo>
                  <a:lnTo>
                    <a:pt x="2" y="2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1" name="Freeform 84"/>
            <p:cNvSpPr>
              <a:spLocks noChangeAspect="1"/>
            </p:cNvSpPr>
            <p:nvPr/>
          </p:nvSpPr>
          <p:spPr bwMode="auto">
            <a:xfrm>
              <a:off x="4742" y="2236"/>
              <a:ext cx="31" cy="68"/>
            </a:xfrm>
            <a:custGeom>
              <a:avLst/>
              <a:gdLst>
                <a:gd name="T0" fmla="*/ 130 w 28"/>
                <a:gd name="T1" fmla="*/ 87 h 67"/>
                <a:gd name="T2" fmla="*/ 117 w 28"/>
                <a:gd name="T3" fmla="*/ 87 h 67"/>
                <a:gd name="T4" fmla="*/ 117 w 28"/>
                <a:gd name="T5" fmla="*/ 81 h 67"/>
                <a:gd name="T6" fmla="*/ 50 w 28"/>
                <a:gd name="T7" fmla="*/ 77 h 67"/>
                <a:gd name="T8" fmla="*/ 0 w 28"/>
                <a:gd name="T9" fmla="*/ 64 h 67"/>
                <a:gd name="T10" fmla="*/ 0 w 28"/>
                <a:gd name="T11" fmla="*/ 55 h 67"/>
                <a:gd name="T12" fmla="*/ 4 w 28"/>
                <a:gd name="T13" fmla="*/ 26 h 67"/>
                <a:gd name="T14" fmla="*/ 117 w 28"/>
                <a:gd name="T15" fmla="*/ 7 h 67"/>
                <a:gd name="T16" fmla="*/ 144 w 28"/>
                <a:gd name="T17" fmla="*/ 0 h 67"/>
                <a:gd name="T18" fmla="*/ 249 w 28"/>
                <a:gd name="T19" fmla="*/ 7 h 67"/>
                <a:gd name="T20" fmla="*/ 249 w 28"/>
                <a:gd name="T21" fmla="*/ 16 h 67"/>
                <a:gd name="T22" fmla="*/ 216 w 28"/>
                <a:gd name="T23" fmla="*/ 22 h 67"/>
                <a:gd name="T24" fmla="*/ 195 w 28"/>
                <a:gd name="T25" fmla="*/ 64 h 67"/>
                <a:gd name="T26" fmla="*/ 144 w 28"/>
                <a:gd name="T27" fmla="*/ 77 h 67"/>
                <a:gd name="T28" fmla="*/ 130 w 28"/>
                <a:gd name="T29" fmla="*/ 87 h 6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67"/>
                <a:gd name="T47" fmla="*/ 28 w 28"/>
                <a:gd name="T48" fmla="*/ 67 h 6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67">
                  <a:moveTo>
                    <a:pt x="15" y="67"/>
                  </a:moveTo>
                  <a:lnTo>
                    <a:pt x="13" y="67"/>
                  </a:lnTo>
                  <a:lnTo>
                    <a:pt x="13" y="61"/>
                  </a:lnTo>
                  <a:lnTo>
                    <a:pt x="6" y="57"/>
                  </a:lnTo>
                  <a:lnTo>
                    <a:pt x="0" y="44"/>
                  </a:lnTo>
                  <a:lnTo>
                    <a:pt x="0" y="35"/>
                  </a:lnTo>
                  <a:lnTo>
                    <a:pt x="4" y="26"/>
                  </a:lnTo>
                  <a:lnTo>
                    <a:pt x="13" y="7"/>
                  </a:lnTo>
                  <a:lnTo>
                    <a:pt x="17" y="0"/>
                  </a:lnTo>
                  <a:lnTo>
                    <a:pt x="28" y="7"/>
                  </a:lnTo>
                  <a:lnTo>
                    <a:pt x="28" y="16"/>
                  </a:lnTo>
                  <a:lnTo>
                    <a:pt x="24" y="22"/>
                  </a:lnTo>
                  <a:lnTo>
                    <a:pt x="21" y="44"/>
                  </a:lnTo>
                  <a:lnTo>
                    <a:pt x="17" y="57"/>
                  </a:lnTo>
                  <a:lnTo>
                    <a:pt x="15" y="67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2" name="Freeform 85"/>
            <p:cNvSpPr>
              <a:spLocks noChangeAspect="1"/>
            </p:cNvSpPr>
            <p:nvPr/>
          </p:nvSpPr>
          <p:spPr bwMode="auto">
            <a:xfrm>
              <a:off x="3872" y="1575"/>
              <a:ext cx="991" cy="762"/>
            </a:xfrm>
            <a:custGeom>
              <a:avLst/>
              <a:gdLst>
                <a:gd name="T0" fmla="*/ 6015 w 900"/>
                <a:gd name="T1" fmla="*/ 74 h 749"/>
                <a:gd name="T2" fmla="*/ 6669 w 900"/>
                <a:gd name="T3" fmla="*/ 155 h 749"/>
                <a:gd name="T4" fmla="*/ 7254 w 900"/>
                <a:gd name="T5" fmla="*/ 184 h 749"/>
                <a:gd name="T6" fmla="*/ 7072 w 900"/>
                <a:gd name="T7" fmla="*/ 377 h 749"/>
                <a:gd name="T8" fmla="*/ 6868 w 900"/>
                <a:gd name="T9" fmla="*/ 407 h 749"/>
                <a:gd name="T10" fmla="*/ 6599 w 900"/>
                <a:gd name="T11" fmla="*/ 420 h 749"/>
                <a:gd name="T12" fmla="*/ 6222 w 900"/>
                <a:gd name="T13" fmla="*/ 495 h 749"/>
                <a:gd name="T14" fmla="*/ 6057 w 900"/>
                <a:gd name="T15" fmla="*/ 495 h 749"/>
                <a:gd name="T16" fmla="*/ 5758 w 900"/>
                <a:gd name="T17" fmla="*/ 510 h 749"/>
                <a:gd name="T18" fmla="*/ 5818 w 900"/>
                <a:gd name="T19" fmla="*/ 573 h 749"/>
                <a:gd name="T20" fmla="*/ 6275 w 900"/>
                <a:gd name="T21" fmla="*/ 559 h 749"/>
                <a:gd name="T22" fmla="*/ 5956 w 900"/>
                <a:gd name="T23" fmla="*/ 647 h 749"/>
                <a:gd name="T24" fmla="*/ 6261 w 900"/>
                <a:gd name="T25" fmla="*/ 729 h 749"/>
                <a:gd name="T26" fmla="*/ 6308 w 900"/>
                <a:gd name="T27" fmla="*/ 777 h 749"/>
                <a:gd name="T28" fmla="*/ 6471 w 900"/>
                <a:gd name="T29" fmla="*/ 792 h 749"/>
                <a:gd name="T30" fmla="*/ 6401 w 900"/>
                <a:gd name="T31" fmla="*/ 818 h 749"/>
                <a:gd name="T32" fmla="*/ 6275 w 900"/>
                <a:gd name="T33" fmla="*/ 876 h 749"/>
                <a:gd name="T34" fmla="*/ 6184 w 900"/>
                <a:gd name="T35" fmla="*/ 931 h 749"/>
                <a:gd name="T36" fmla="*/ 5901 w 900"/>
                <a:gd name="T37" fmla="*/ 986 h 749"/>
                <a:gd name="T38" fmla="*/ 5501 w 900"/>
                <a:gd name="T39" fmla="*/ 986 h 749"/>
                <a:gd name="T40" fmla="*/ 5229 w 900"/>
                <a:gd name="T41" fmla="*/ 1030 h 749"/>
                <a:gd name="T42" fmla="*/ 5060 w 900"/>
                <a:gd name="T43" fmla="*/ 1030 h 749"/>
                <a:gd name="T44" fmla="*/ 4870 w 900"/>
                <a:gd name="T45" fmla="*/ 1022 h 749"/>
                <a:gd name="T46" fmla="*/ 4505 w 900"/>
                <a:gd name="T47" fmla="*/ 986 h 749"/>
                <a:gd name="T48" fmla="*/ 4190 w 900"/>
                <a:gd name="T49" fmla="*/ 996 h 749"/>
                <a:gd name="T50" fmla="*/ 4016 w 900"/>
                <a:gd name="T51" fmla="*/ 1035 h 749"/>
                <a:gd name="T52" fmla="*/ 3779 w 900"/>
                <a:gd name="T53" fmla="*/ 1017 h 749"/>
                <a:gd name="T54" fmla="*/ 3574 w 900"/>
                <a:gd name="T55" fmla="*/ 960 h 749"/>
                <a:gd name="T56" fmla="*/ 3417 w 900"/>
                <a:gd name="T57" fmla="*/ 931 h 749"/>
                <a:gd name="T58" fmla="*/ 3455 w 900"/>
                <a:gd name="T59" fmla="*/ 863 h 749"/>
                <a:gd name="T60" fmla="*/ 3170 w 900"/>
                <a:gd name="T61" fmla="*/ 846 h 749"/>
                <a:gd name="T62" fmla="*/ 3049 w 900"/>
                <a:gd name="T63" fmla="*/ 831 h 749"/>
                <a:gd name="T64" fmla="*/ 2693 w 900"/>
                <a:gd name="T65" fmla="*/ 863 h 749"/>
                <a:gd name="T66" fmla="*/ 2295 w 900"/>
                <a:gd name="T67" fmla="*/ 868 h 749"/>
                <a:gd name="T68" fmla="*/ 1771 w 900"/>
                <a:gd name="T69" fmla="*/ 855 h 749"/>
                <a:gd name="T70" fmla="*/ 1483 w 900"/>
                <a:gd name="T71" fmla="*/ 834 h 749"/>
                <a:gd name="T72" fmla="*/ 829 w 900"/>
                <a:gd name="T73" fmla="*/ 762 h 749"/>
                <a:gd name="T74" fmla="*/ 879 w 900"/>
                <a:gd name="T75" fmla="*/ 727 h 749"/>
                <a:gd name="T76" fmla="*/ 515 w 900"/>
                <a:gd name="T77" fmla="*/ 647 h 749"/>
                <a:gd name="T78" fmla="*/ 239 w 900"/>
                <a:gd name="T79" fmla="*/ 608 h 749"/>
                <a:gd name="T80" fmla="*/ 159 w 900"/>
                <a:gd name="T81" fmla="*/ 524 h 749"/>
                <a:gd name="T82" fmla="*/ 769 w 900"/>
                <a:gd name="T83" fmla="*/ 468 h 749"/>
                <a:gd name="T84" fmla="*/ 879 w 900"/>
                <a:gd name="T85" fmla="*/ 359 h 749"/>
                <a:gd name="T86" fmla="*/ 1342 w 900"/>
                <a:gd name="T87" fmla="*/ 242 h 749"/>
                <a:gd name="T88" fmla="*/ 1663 w 900"/>
                <a:gd name="T89" fmla="*/ 270 h 749"/>
                <a:gd name="T90" fmla="*/ 1926 w 900"/>
                <a:gd name="T91" fmla="*/ 336 h 749"/>
                <a:gd name="T92" fmla="*/ 2527 w 900"/>
                <a:gd name="T93" fmla="*/ 389 h 749"/>
                <a:gd name="T94" fmla="*/ 3170 w 900"/>
                <a:gd name="T95" fmla="*/ 431 h 749"/>
                <a:gd name="T96" fmla="*/ 3909 w 900"/>
                <a:gd name="T97" fmla="*/ 454 h 749"/>
                <a:gd name="T98" fmla="*/ 4621 w 900"/>
                <a:gd name="T99" fmla="*/ 363 h 749"/>
                <a:gd name="T100" fmla="*/ 4870 w 900"/>
                <a:gd name="T101" fmla="*/ 333 h 749"/>
                <a:gd name="T102" fmla="*/ 5185 w 900"/>
                <a:gd name="T103" fmla="*/ 288 h 749"/>
                <a:gd name="T104" fmla="*/ 5496 w 900"/>
                <a:gd name="T105" fmla="*/ 256 h 749"/>
                <a:gd name="T106" fmla="*/ 5060 w 900"/>
                <a:gd name="T107" fmla="*/ 231 h 749"/>
                <a:gd name="T108" fmla="*/ 4918 w 900"/>
                <a:gd name="T109" fmla="*/ 158 h 749"/>
                <a:gd name="T110" fmla="*/ 5202 w 900"/>
                <a:gd name="T111" fmla="*/ 59 h 74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00"/>
                <a:gd name="T169" fmla="*/ 0 h 749"/>
                <a:gd name="T170" fmla="*/ 900 w 900"/>
                <a:gd name="T171" fmla="*/ 749 h 74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00" h="749">
                  <a:moveTo>
                    <a:pt x="667" y="4"/>
                  </a:moveTo>
                  <a:lnTo>
                    <a:pt x="675" y="0"/>
                  </a:lnTo>
                  <a:lnTo>
                    <a:pt x="684" y="4"/>
                  </a:lnTo>
                  <a:lnTo>
                    <a:pt x="703" y="8"/>
                  </a:lnTo>
                  <a:lnTo>
                    <a:pt x="714" y="8"/>
                  </a:lnTo>
                  <a:lnTo>
                    <a:pt x="719" y="13"/>
                  </a:lnTo>
                  <a:lnTo>
                    <a:pt x="747" y="54"/>
                  </a:lnTo>
                  <a:lnTo>
                    <a:pt x="760" y="64"/>
                  </a:lnTo>
                  <a:lnTo>
                    <a:pt x="768" y="84"/>
                  </a:lnTo>
                  <a:lnTo>
                    <a:pt x="775" y="93"/>
                  </a:lnTo>
                  <a:lnTo>
                    <a:pt x="779" y="99"/>
                  </a:lnTo>
                  <a:lnTo>
                    <a:pt x="794" y="99"/>
                  </a:lnTo>
                  <a:lnTo>
                    <a:pt x="805" y="99"/>
                  </a:lnTo>
                  <a:lnTo>
                    <a:pt x="829" y="112"/>
                  </a:lnTo>
                  <a:lnTo>
                    <a:pt x="844" y="142"/>
                  </a:lnTo>
                  <a:lnTo>
                    <a:pt x="852" y="142"/>
                  </a:lnTo>
                  <a:lnTo>
                    <a:pt x="867" y="138"/>
                  </a:lnTo>
                  <a:lnTo>
                    <a:pt x="872" y="129"/>
                  </a:lnTo>
                  <a:lnTo>
                    <a:pt x="889" y="123"/>
                  </a:lnTo>
                  <a:lnTo>
                    <a:pt x="900" y="116"/>
                  </a:lnTo>
                  <a:lnTo>
                    <a:pt x="900" y="131"/>
                  </a:lnTo>
                  <a:lnTo>
                    <a:pt x="900" y="146"/>
                  </a:lnTo>
                  <a:lnTo>
                    <a:pt x="898" y="153"/>
                  </a:lnTo>
                  <a:lnTo>
                    <a:pt x="898" y="207"/>
                  </a:lnTo>
                  <a:lnTo>
                    <a:pt x="878" y="198"/>
                  </a:lnTo>
                  <a:lnTo>
                    <a:pt x="870" y="211"/>
                  </a:lnTo>
                  <a:lnTo>
                    <a:pt x="883" y="248"/>
                  </a:lnTo>
                  <a:lnTo>
                    <a:pt x="878" y="267"/>
                  </a:lnTo>
                  <a:lnTo>
                    <a:pt x="878" y="274"/>
                  </a:lnTo>
                  <a:lnTo>
                    <a:pt x="872" y="267"/>
                  </a:lnTo>
                  <a:lnTo>
                    <a:pt x="867" y="263"/>
                  </a:lnTo>
                  <a:lnTo>
                    <a:pt x="867" y="274"/>
                  </a:lnTo>
                  <a:lnTo>
                    <a:pt x="859" y="278"/>
                  </a:lnTo>
                  <a:lnTo>
                    <a:pt x="857" y="287"/>
                  </a:lnTo>
                  <a:lnTo>
                    <a:pt x="852" y="289"/>
                  </a:lnTo>
                  <a:lnTo>
                    <a:pt x="844" y="291"/>
                  </a:lnTo>
                  <a:lnTo>
                    <a:pt x="844" y="293"/>
                  </a:lnTo>
                  <a:lnTo>
                    <a:pt x="848" y="300"/>
                  </a:lnTo>
                  <a:lnTo>
                    <a:pt x="842" y="300"/>
                  </a:lnTo>
                  <a:lnTo>
                    <a:pt x="833" y="300"/>
                  </a:lnTo>
                  <a:lnTo>
                    <a:pt x="826" y="293"/>
                  </a:lnTo>
                  <a:lnTo>
                    <a:pt x="820" y="298"/>
                  </a:lnTo>
                  <a:lnTo>
                    <a:pt x="820" y="306"/>
                  </a:lnTo>
                  <a:lnTo>
                    <a:pt x="818" y="313"/>
                  </a:lnTo>
                  <a:lnTo>
                    <a:pt x="811" y="317"/>
                  </a:lnTo>
                  <a:lnTo>
                    <a:pt x="798" y="328"/>
                  </a:lnTo>
                  <a:lnTo>
                    <a:pt x="792" y="343"/>
                  </a:lnTo>
                  <a:lnTo>
                    <a:pt x="779" y="347"/>
                  </a:lnTo>
                  <a:lnTo>
                    <a:pt x="773" y="352"/>
                  </a:lnTo>
                  <a:lnTo>
                    <a:pt x="764" y="362"/>
                  </a:lnTo>
                  <a:lnTo>
                    <a:pt x="753" y="371"/>
                  </a:lnTo>
                  <a:lnTo>
                    <a:pt x="749" y="367"/>
                  </a:lnTo>
                  <a:lnTo>
                    <a:pt x="755" y="362"/>
                  </a:lnTo>
                  <a:lnTo>
                    <a:pt x="755" y="358"/>
                  </a:lnTo>
                  <a:lnTo>
                    <a:pt x="760" y="356"/>
                  </a:lnTo>
                  <a:lnTo>
                    <a:pt x="753" y="352"/>
                  </a:lnTo>
                  <a:lnTo>
                    <a:pt x="749" y="347"/>
                  </a:lnTo>
                  <a:lnTo>
                    <a:pt x="760" y="328"/>
                  </a:lnTo>
                  <a:lnTo>
                    <a:pt x="747" y="317"/>
                  </a:lnTo>
                  <a:lnTo>
                    <a:pt x="734" y="326"/>
                  </a:lnTo>
                  <a:lnTo>
                    <a:pt x="725" y="343"/>
                  </a:lnTo>
                  <a:lnTo>
                    <a:pt x="714" y="352"/>
                  </a:lnTo>
                  <a:lnTo>
                    <a:pt x="714" y="362"/>
                  </a:lnTo>
                  <a:lnTo>
                    <a:pt x="708" y="367"/>
                  </a:lnTo>
                  <a:lnTo>
                    <a:pt x="695" y="367"/>
                  </a:lnTo>
                  <a:lnTo>
                    <a:pt x="697" y="380"/>
                  </a:lnTo>
                  <a:lnTo>
                    <a:pt x="703" y="393"/>
                  </a:lnTo>
                  <a:lnTo>
                    <a:pt x="710" y="390"/>
                  </a:lnTo>
                  <a:lnTo>
                    <a:pt x="719" y="395"/>
                  </a:lnTo>
                  <a:lnTo>
                    <a:pt x="723" y="406"/>
                  </a:lnTo>
                  <a:lnTo>
                    <a:pt x="729" y="412"/>
                  </a:lnTo>
                  <a:lnTo>
                    <a:pt x="734" y="408"/>
                  </a:lnTo>
                  <a:lnTo>
                    <a:pt x="742" y="397"/>
                  </a:lnTo>
                  <a:lnTo>
                    <a:pt x="749" y="393"/>
                  </a:lnTo>
                  <a:lnTo>
                    <a:pt x="764" y="397"/>
                  </a:lnTo>
                  <a:lnTo>
                    <a:pt x="773" y="397"/>
                  </a:lnTo>
                  <a:lnTo>
                    <a:pt x="779" y="397"/>
                  </a:lnTo>
                  <a:lnTo>
                    <a:pt x="779" y="412"/>
                  </a:lnTo>
                  <a:lnTo>
                    <a:pt x="773" y="408"/>
                  </a:lnTo>
                  <a:lnTo>
                    <a:pt x="755" y="416"/>
                  </a:lnTo>
                  <a:lnTo>
                    <a:pt x="760" y="421"/>
                  </a:lnTo>
                  <a:lnTo>
                    <a:pt x="747" y="436"/>
                  </a:lnTo>
                  <a:lnTo>
                    <a:pt x="738" y="451"/>
                  </a:lnTo>
                  <a:lnTo>
                    <a:pt x="738" y="459"/>
                  </a:lnTo>
                  <a:lnTo>
                    <a:pt x="755" y="470"/>
                  </a:lnTo>
                  <a:lnTo>
                    <a:pt x="768" y="492"/>
                  </a:lnTo>
                  <a:lnTo>
                    <a:pt x="775" y="496"/>
                  </a:lnTo>
                  <a:lnTo>
                    <a:pt x="777" y="507"/>
                  </a:lnTo>
                  <a:lnTo>
                    <a:pt x="788" y="516"/>
                  </a:lnTo>
                  <a:lnTo>
                    <a:pt x="792" y="520"/>
                  </a:lnTo>
                  <a:lnTo>
                    <a:pt x="777" y="518"/>
                  </a:lnTo>
                  <a:lnTo>
                    <a:pt x="773" y="516"/>
                  </a:lnTo>
                  <a:lnTo>
                    <a:pt x="768" y="518"/>
                  </a:lnTo>
                  <a:lnTo>
                    <a:pt x="775" y="518"/>
                  </a:lnTo>
                  <a:lnTo>
                    <a:pt x="783" y="526"/>
                  </a:lnTo>
                  <a:lnTo>
                    <a:pt x="794" y="539"/>
                  </a:lnTo>
                  <a:lnTo>
                    <a:pt x="788" y="542"/>
                  </a:lnTo>
                  <a:lnTo>
                    <a:pt x="783" y="550"/>
                  </a:lnTo>
                  <a:lnTo>
                    <a:pt x="775" y="550"/>
                  </a:lnTo>
                  <a:lnTo>
                    <a:pt x="773" y="554"/>
                  </a:lnTo>
                  <a:lnTo>
                    <a:pt x="777" y="552"/>
                  </a:lnTo>
                  <a:lnTo>
                    <a:pt x="777" y="557"/>
                  </a:lnTo>
                  <a:lnTo>
                    <a:pt x="790" y="552"/>
                  </a:lnTo>
                  <a:lnTo>
                    <a:pt x="798" y="557"/>
                  </a:lnTo>
                  <a:lnTo>
                    <a:pt x="803" y="561"/>
                  </a:lnTo>
                  <a:lnTo>
                    <a:pt x="794" y="567"/>
                  </a:lnTo>
                  <a:lnTo>
                    <a:pt x="803" y="567"/>
                  </a:lnTo>
                  <a:lnTo>
                    <a:pt x="803" y="572"/>
                  </a:lnTo>
                  <a:lnTo>
                    <a:pt x="794" y="572"/>
                  </a:lnTo>
                  <a:lnTo>
                    <a:pt x="798" y="576"/>
                  </a:lnTo>
                  <a:lnTo>
                    <a:pt x="798" y="580"/>
                  </a:lnTo>
                  <a:lnTo>
                    <a:pt x="794" y="580"/>
                  </a:lnTo>
                  <a:lnTo>
                    <a:pt x="794" y="585"/>
                  </a:lnTo>
                  <a:lnTo>
                    <a:pt x="803" y="589"/>
                  </a:lnTo>
                  <a:lnTo>
                    <a:pt x="794" y="591"/>
                  </a:lnTo>
                  <a:lnTo>
                    <a:pt x="794" y="589"/>
                  </a:lnTo>
                  <a:lnTo>
                    <a:pt x="792" y="591"/>
                  </a:lnTo>
                  <a:lnTo>
                    <a:pt x="788" y="606"/>
                  </a:lnTo>
                  <a:lnTo>
                    <a:pt x="779" y="621"/>
                  </a:lnTo>
                  <a:lnTo>
                    <a:pt x="775" y="621"/>
                  </a:lnTo>
                  <a:lnTo>
                    <a:pt x="775" y="626"/>
                  </a:lnTo>
                  <a:lnTo>
                    <a:pt x="777" y="628"/>
                  </a:lnTo>
                  <a:lnTo>
                    <a:pt x="775" y="634"/>
                  </a:lnTo>
                  <a:lnTo>
                    <a:pt x="775" y="645"/>
                  </a:lnTo>
                  <a:lnTo>
                    <a:pt x="775" y="649"/>
                  </a:lnTo>
                  <a:lnTo>
                    <a:pt x="768" y="660"/>
                  </a:lnTo>
                  <a:lnTo>
                    <a:pt x="764" y="665"/>
                  </a:lnTo>
                  <a:lnTo>
                    <a:pt x="753" y="669"/>
                  </a:lnTo>
                  <a:lnTo>
                    <a:pt x="755" y="671"/>
                  </a:lnTo>
                  <a:lnTo>
                    <a:pt x="747" y="680"/>
                  </a:lnTo>
                  <a:lnTo>
                    <a:pt x="740" y="684"/>
                  </a:lnTo>
                  <a:lnTo>
                    <a:pt x="738" y="684"/>
                  </a:lnTo>
                  <a:lnTo>
                    <a:pt x="731" y="699"/>
                  </a:lnTo>
                  <a:lnTo>
                    <a:pt x="719" y="701"/>
                  </a:lnTo>
                  <a:lnTo>
                    <a:pt x="714" y="706"/>
                  </a:lnTo>
                  <a:lnTo>
                    <a:pt x="710" y="701"/>
                  </a:lnTo>
                  <a:lnTo>
                    <a:pt x="708" y="706"/>
                  </a:lnTo>
                  <a:lnTo>
                    <a:pt x="703" y="701"/>
                  </a:lnTo>
                  <a:lnTo>
                    <a:pt x="695" y="708"/>
                  </a:lnTo>
                  <a:lnTo>
                    <a:pt x="684" y="699"/>
                  </a:lnTo>
                  <a:lnTo>
                    <a:pt x="688" y="714"/>
                  </a:lnTo>
                  <a:lnTo>
                    <a:pt x="673" y="721"/>
                  </a:lnTo>
                  <a:lnTo>
                    <a:pt x="669" y="716"/>
                  </a:lnTo>
                  <a:lnTo>
                    <a:pt x="669" y="721"/>
                  </a:lnTo>
                  <a:lnTo>
                    <a:pt x="665" y="723"/>
                  </a:lnTo>
                  <a:lnTo>
                    <a:pt x="658" y="725"/>
                  </a:lnTo>
                  <a:lnTo>
                    <a:pt x="649" y="729"/>
                  </a:lnTo>
                  <a:lnTo>
                    <a:pt x="639" y="734"/>
                  </a:lnTo>
                  <a:lnTo>
                    <a:pt x="639" y="729"/>
                  </a:lnTo>
                  <a:lnTo>
                    <a:pt x="634" y="738"/>
                  </a:lnTo>
                  <a:lnTo>
                    <a:pt x="643" y="744"/>
                  </a:lnTo>
                  <a:lnTo>
                    <a:pt x="632" y="749"/>
                  </a:lnTo>
                  <a:lnTo>
                    <a:pt x="630" y="736"/>
                  </a:lnTo>
                  <a:lnTo>
                    <a:pt x="628" y="729"/>
                  </a:lnTo>
                  <a:lnTo>
                    <a:pt x="632" y="725"/>
                  </a:lnTo>
                  <a:lnTo>
                    <a:pt x="624" y="721"/>
                  </a:lnTo>
                  <a:lnTo>
                    <a:pt x="619" y="725"/>
                  </a:lnTo>
                  <a:lnTo>
                    <a:pt x="615" y="723"/>
                  </a:lnTo>
                  <a:lnTo>
                    <a:pt x="608" y="721"/>
                  </a:lnTo>
                  <a:lnTo>
                    <a:pt x="604" y="721"/>
                  </a:lnTo>
                  <a:lnTo>
                    <a:pt x="604" y="725"/>
                  </a:lnTo>
                  <a:lnTo>
                    <a:pt x="600" y="725"/>
                  </a:lnTo>
                  <a:lnTo>
                    <a:pt x="596" y="723"/>
                  </a:lnTo>
                  <a:lnTo>
                    <a:pt x="587" y="725"/>
                  </a:lnTo>
                  <a:lnTo>
                    <a:pt x="574" y="710"/>
                  </a:lnTo>
                  <a:lnTo>
                    <a:pt x="578" y="701"/>
                  </a:lnTo>
                  <a:lnTo>
                    <a:pt x="574" y="701"/>
                  </a:lnTo>
                  <a:lnTo>
                    <a:pt x="559" y="699"/>
                  </a:lnTo>
                  <a:lnTo>
                    <a:pt x="552" y="693"/>
                  </a:lnTo>
                  <a:lnTo>
                    <a:pt x="544" y="695"/>
                  </a:lnTo>
                  <a:lnTo>
                    <a:pt x="544" y="701"/>
                  </a:lnTo>
                  <a:lnTo>
                    <a:pt x="535" y="706"/>
                  </a:lnTo>
                  <a:lnTo>
                    <a:pt x="531" y="710"/>
                  </a:lnTo>
                  <a:lnTo>
                    <a:pt x="524" y="706"/>
                  </a:lnTo>
                  <a:lnTo>
                    <a:pt x="520" y="706"/>
                  </a:lnTo>
                  <a:lnTo>
                    <a:pt x="516" y="708"/>
                  </a:lnTo>
                  <a:lnTo>
                    <a:pt x="509" y="708"/>
                  </a:lnTo>
                  <a:lnTo>
                    <a:pt x="507" y="708"/>
                  </a:lnTo>
                  <a:lnTo>
                    <a:pt x="505" y="710"/>
                  </a:lnTo>
                  <a:lnTo>
                    <a:pt x="498" y="710"/>
                  </a:lnTo>
                  <a:lnTo>
                    <a:pt x="494" y="714"/>
                  </a:lnTo>
                  <a:lnTo>
                    <a:pt x="498" y="734"/>
                  </a:lnTo>
                  <a:lnTo>
                    <a:pt x="490" y="734"/>
                  </a:lnTo>
                  <a:lnTo>
                    <a:pt x="490" y="729"/>
                  </a:lnTo>
                  <a:lnTo>
                    <a:pt x="479" y="729"/>
                  </a:lnTo>
                  <a:lnTo>
                    <a:pt x="475" y="725"/>
                  </a:lnTo>
                  <a:lnTo>
                    <a:pt x="470" y="725"/>
                  </a:lnTo>
                  <a:lnTo>
                    <a:pt x="470" y="723"/>
                  </a:lnTo>
                  <a:lnTo>
                    <a:pt x="470" y="721"/>
                  </a:lnTo>
                  <a:lnTo>
                    <a:pt x="455" y="716"/>
                  </a:lnTo>
                  <a:lnTo>
                    <a:pt x="457" y="708"/>
                  </a:lnTo>
                  <a:lnTo>
                    <a:pt x="457" y="699"/>
                  </a:lnTo>
                  <a:lnTo>
                    <a:pt x="449" y="699"/>
                  </a:lnTo>
                  <a:lnTo>
                    <a:pt x="444" y="686"/>
                  </a:lnTo>
                  <a:lnTo>
                    <a:pt x="442" y="684"/>
                  </a:lnTo>
                  <a:lnTo>
                    <a:pt x="444" y="680"/>
                  </a:lnTo>
                  <a:lnTo>
                    <a:pt x="436" y="680"/>
                  </a:lnTo>
                  <a:lnTo>
                    <a:pt x="434" y="680"/>
                  </a:lnTo>
                  <a:lnTo>
                    <a:pt x="427" y="684"/>
                  </a:lnTo>
                  <a:lnTo>
                    <a:pt x="425" y="678"/>
                  </a:lnTo>
                  <a:lnTo>
                    <a:pt x="421" y="669"/>
                  </a:lnTo>
                  <a:lnTo>
                    <a:pt x="427" y="669"/>
                  </a:lnTo>
                  <a:lnTo>
                    <a:pt x="425" y="660"/>
                  </a:lnTo>
                  <a:lnTo>
                    <a:pt x="434" y="656"/>
                  </a:lnTo>
                  <a:lnTo>
                    <a:pt x="436" y="656"/>
                  </a:lnTo>
                  <a:lnTo>
                    <a:pt x="436" y="654"/>
                  </a:lnTo>
                  <a:lnTo>
                    <a:pt x="440" y="645"/>
                  </a:lnTo>
                  <a:lnTo>
                    <a:pt x="434" y="615"/>
                  </a:lnTo>
                  <a:lnTo>
                    <a:pt x="427" y="615"/>
                  </a:lnTo>
                  <a:lnTo>
                    <a:pt x="427" y="611"/>
                  </a:lnTo>
                  <a:lnTo>
                    <a:pt x="421" y="600"/>
                  </a:lnTo>
                  <a:lnTo>
                    <a:pt x="410" y="600"/>
                  </a:lnTo>
                  <a:lnTo>
                    <a:pt x="410" y="606"/>
                  </a:lnTo>
                  <a:lnTo>
                    <a:pt x="406" y="600"/>
                  </a:lnTo>
                  <a:lnTo>
                    <a:pt x="399" y="600"/>
                  </a:lnTo>
                  <a:lnTo>
                    <a:pt x="399" y="598"/>
                  </a:lnTo>
                  <a:lnTo>
                    <a:pt x="393" y="600"/>
                  </a:lnTo>
                  <a:lnTo>
                    <a:pt x="395" y="595"/>
                  </a:lnTo>
                  <a:lnTo>
                    <a:pt x="395" y="589"/>
                  </a:lnTo>
                  <a:lnTo>
                    <a:pt x="391" y="589"/>
                  </a:lnTo>
                  <a:lnTo>
                    <a:pt x="393" y="580"/>
                  </a:lnTo>
                  <a:lnTo>
                    <a:pt x="391" y="580"/>
                  </a:lnTo>
                  <a:lnTo>
                    <a:pt x="384" y="580"/>
                  </a:lnTo>
                  <a:lnTo>
                    <a:pt x="378" y="589"/>
                  </a:lnTo>
                  <a:lnTo>
                    <a:pt x="362" y="585"/>
                  </a:lnTo>
                  <a:lnTo>
                    <a:pt x="356" y="589"/>
                  </a:lnTo>
                  <a:lnTo>
                    <a:pt x="354" y="595"/>
                  </a:lnTo>
                  <a:lnTo>
                    <a:pt x="341" y="598"/>
                  </a:lnTo>
                  <a:lnTo>
                    <a:pt x="341" y="604"/>
                  </a:lnTo>
                  <a:lnTo>
                    <a:pt x="339" y="606"/>
                  </a:lnTo>
                  <a:lnTo>
                    <a:pt x="334" y="611"/>
                  </a:lnTo>
                  <a:lnTo>
                    <a:pt x="326" y="613"/>
                  </a:lnTo>
                  <a:lnTo>
                    <a:pt x="319" y="613"/>
                  </a:lnTo>
                  <a:lnTo>
                    <a:pt x="313" y="606"/>
                  </a:lnTo>
                  <a:lnTo>
                    <a:pt x="311" y="611"/>
                  </a:lnTo>
                  <a:lnTo>
                    <a:pt x="298" y="611"/>
                  </a:lnTo>
                  <a:lnTo>
                    <a:pt x="289" y="606"/>
                  </a:lnTo>
                  <a:lnTo>
                    <a:pt x="285" y="615"/>
                  </a:lnTo>
                  <a:lnTo>
                    <a:pt x="276" y="619"/>
                  </a:lnTo>
                  <a:lnTo>
                    <a:pt x="276" y="611"/>
                  </a:lnTo>
                  <a:lnTo>
                    <a:pt x="265" y="613"/>
                  </a:lnTo>
                  <a:lnTo>
                    <a:pt x="248" y="613"/>
                  </a:lnTo>
                  <a:lnTo>
                    <a:pt x="239" y="611"/>
                  </a:lnTo>
                  <a:lnTo>
                    <a:pt x="235" y="613"/>
                  </a:lnTo>
                  <a:lnTo>
                    <a:pt x="220" y="606"/>
                  </a:lnTo>
                  <a:lnTo>
                    <a:pt x="216" y="606"/>
                  </a:lnTo>
                  <a:lnTo>
                    <a:pt x="216" y="598"/>
                  </a:lnTo>
                  <a:lnTo>
                    <a:pt x="209" y="600"/>
                  </a:lnTo>
                  <a:lnTo>
                    <a:pt x="201" y="598"/>
                  </a:lnTo>
                  <a:lnTo>
                    <a:pt x="196" y="589"/>
                  </a:lnTo>
                  <a:lnTo>
                    <a:pt x="190" y="589"/>
                  </a:lnTo>
                  <a:lnTo>
                    <a:pt x="185" y="591"/>
                  </a:lnTo>
                  <a:lnTo>
                    <a:pt x="181" y="580"/>
                  </a:lnTo>
                  <a:lnTo>
                    <a:pt x="153" y="570"/>
                  </a:lnTo>
                  <a:lnTo>
                    <a:pt x="144" y="567"/>
                  </a:lnTo>
                  <a:lnTo>
                    <a:pt x="123" y="554"/>
                  </a:lnTo>
                  <a:lnTo>
                    <a:pt x="121" y="552"/>
                  </a:lnTo>
                  <a:lnTo>
                    <a:pt x="110" y="554"/>
                  </a:lnTo>
                  <a:lnTo>
                    <a:pt x="103" y="539"/>
                  </a:lnTo>
                  <a:lnTo>
                    <a:pt x="103" y="533"/>
                  </a:lnTo>
                  <a:lnTo>
                    <a:pt x="101" y="533"/>
                  </a:lnTo>
                  <a:lnTo>
                    <a:pt x="99" y="526"/>
                  </a:lnTo>
                  <a:lnTo>
                    <a:pt x="101" y="524"/>
                  </a:lnTo>
                  <a:lnTo>
                    <a:pt x="106" y="531"/>
                  </a:lnTo>
                  <a:lnTo>
                    <a:pt x="116" y="520"/>
                  </a:lnTo>
                  <a:lnTo>
                    <a:pt x="110" y="516"/>
                  </a:lnTo>
                  <a:lnTo>
                    <a:pt x="103" y="511"/>
                  </a:lnTo>
                  <a:lnTo>
                    <a:pt x="101" y="501"/>
                  </a:lnTo>
                  <a:lnTo>
                    <a:pt x="99" y="492"/>
                  </a:lnTo>
                  <a:lnTo>
                    <a:pt x="95" y="485"/>
                  </a:lnTo>
                  <a:lnTo>
                    <a:pt x="84" y="472"/>
                  </a:lnTo>
                  <a:lnTo>
                    <a:pt x="80" y="472"/>
                  </a:lnTo>
                  <a:lnTo>
                    <a:pt x="65" y="459"/>
                  </a:lnTo>
                  <a:lnTo>
                    <a:pt x="56" y="451"/>
                  </a:lnTo>
                  <a:lnTo>
                    <a:pt x="34" y="442"/>
                  </a:lnTo>
                  <a:lnTo>
                    <a:pt x="24" y="444"/>
                  </a:lnTo>
                  <a:lnTo>
                    <a:pt x="21" y="442"/>
                  </a:lnTo>
                  <a:lnTo>
                    <a:pt x="19" y="438"/>
                  </a:lnTo>
                  <a:lnTo>
                    <a:pt x="24" y="438"/>
                  </a:lnTo>
                  <a:lnTo>
                    <a:pt x="30" y="431"/>
                  </a:lnTo>
                  <a:lnTo>
                    <a:pt x="21" y="412"/>
                  </a:lnTo>
                  <a:lnTo>
                    <a:pt x="11" y="408"/>
                  </a:lnTo>
                  <a:lnTo>
                    <a:pt x="6" y="408"/>
                  </a:lnTo>
                  <a:lnTo>
                    <a:pt x="0" y="393"/>
                  </a:lnTo>
                  <a:lnTo>
                    <a:pt x="6" y="393"/>
                  </a:lnTo>
                  <a:lnTo>
                    <a:pt x="4" y="380"/>
                  </a:lnTo>
                  <a:lnTo>
                    <a:pt x="19" y="371"/>
                  </a:lnTo>
                  <a:lnTo>
                    <a:pt x="26" y="367"/>
                  </a:lnTo>
                  <a:lnTo>
                    <a:pt x="30" y="371"/>
                  </a:lnTo>
                  <a:lnTo>
                    <a:pt x="43" y="367"/>
                  </a:lnTo>
                  <a:lnTo>
                    <a:pt x="45" y="358"/>
                  </a:lnTo>
                  <a:lnTo>
                    <a:pt x="65" y="356"/>
                  </a:lnTo>
                  <a:lnTo>
                    <a:pt x="71" y="347"/>
                  </a:lnTo>
                  <a:lnTo>
                    <a:pt x="95" y="332"/>
                  </a:lnTo>
                  <a:lnTo>
                    <a:pt x="99" y="306"/>
                  </a:lnTo>
                  <a:lnTo>
                    <a:pt x="84" y="274"/>
                  </a:lnTo>
                  <a:lnTo>
                    <a:pt x="75" y="274"/>
                  </a:lnTo>
                  <a:lnTo>
                    <a:pt x="101" y="261"/>
                  </a:lnTo>
                  <a:lnTo>
                    <a:pt x="110" y="263"/>
                  </a:lnTo>
                  <a:lnTo>
                    <a:pt x="116" y="257"/>
                  </a:lnTo>
                  <a:lnTo>
                    <a:pt x="110" y="254"/>
                  </a:lnTo>
                  <a:lnTo>
                    <a:pt x="114" y="222"/>
                  </a:lnTo>
                  <a:lnTo>
                    <a:pt x="147" y="222"/>
                  </a:lnTo>
                  <a:lnTo>
                    <a:pt x="153" y="213"/>
                  </a:lnTo>
                  <a:lnTo>
                    <a:pt x="147" y="192"/>
                  </a:lnTo>
                  <a:lnTo>
                    <a:pt x="155" y="188"/>
                  </a:lnTo>
                  <a:lnTo>
                    <a:pt x="164" y="183"/>
                  </a:lnTo>
                  <a:lnTo>
                    <a:pt x="166" y="172"/>
                  </a:lnTo>
                  <a:lnTo>
                    <a:pt x="175" y="168"/>
                  </a:lnTo>
                  <a:lnTo>
                    <a:pt x="175" y="179"/>
                  </a:lnTo>
                  <a:lnTo>
                    <a:pt x="181" y="181"/>
                  </a:lnTo>
                  <a:lnTo>
                    <a:pt x="183" y="183"/>
                  </a:lnTo>
                  <a:lnTo>
                    <a:pt x="190" y="188"/>
                  </a:lnTo>
                  <a:lnTo>
                    <a:pt x="201" y="198"/>
                  </a:lnTo>
                  <a:lnTo>
                    <a:pt x="205" y="192"/>
                  </a:lnTo>
                  <a:lnTo>
                    <a:pt x="209" y="194"/>
                  </a:lnTo>
                  <a:lnTo>
                    <a:pt x="211" y="198"/>
                  </a:lnTo>
                  <a:lnTo>
                    <a:pt x="216" y="196"/>
                  </a:lnTo>
                  <a:lnTo>
                    <a:pt x="226" y="209"/>
                  </a:lnTo>
                  <a:lnTo>
                    <a:pt x="235" y="222"/>
                  </a:lnTo>
                  <a:lnTo>
                    <a:pt x="235" y="231"/>
                  </a:lnTo>
                  <a:lnTo>
                    <a:pt x="239" y="239"/>
                  </a:lnTo>
                  <a:lnTo>
                    <a:pt x="235" y="241"/>
                  </a:lnTo>
                  <a:lnTo>
                    <a:pt x="239" y="252"/>
                  </a:lnTo>
                  <a:lnTo>
                    <a:pt x="255" y="257"/>
                  </a:lnTo>
                  <a:lnTo>
                    <a:pt x="276" y="261"/>
                  </a:lnTo>
                  <a:lnTo>
                    <a:pt x="285" y="261"/>
                  </a:lnTo>
                  <a:lnTo>
                    <a:pt x="300" y="272"/>
                  </a:lnTo>
                  <a:lnTo>
                    <a:pt x="315" y="276"/>
                  </a:lnTo>
                  <a:lnTo>
                    <a:pt x="319" y="276"/>
                  </a:lnTo>
                  <a:lnTo>
                    <a:pt x="326" y="282"/>
                  </a:lnTo>
                  <a:lnTo>
                    <a:pt x="334" y="300"/>
                  </a:lnTo>
                  <a:lnTo>
                    <a:pt x="343" y="311"/>
                  </a:lnTo>
                  <a:lnTo>
                    <a:pt x="360" y="311"/>
                  </a:lnTo>
                  <a:lnTo>
                    <a:pt x="362" y="306"/>
                  </a:lnTo>
                  <a:lnTo>
                    <a:pt x="393" y="306"/>
                  </a:lnTo>
                  <a:lnTo>
                    <a:pt x="399" y="304"/>
                  </a:lnTo>
                  <a:lnTo>
                    <a:pt x="425" y="304"/>
                  </a:lnTo>
                  <a:lnTo>
                    <a:pt x="429" y="311"/>
                  </a:lnTo>
                  <a:lnTo>
                    <a:pt x="460" y="317"/>
                  </a:lnTo>
                  <a:lnTo>
                    <a:pt x="470" y="317"/>
                  </a:lnTo>
                  <a:lnTo>
                    <a:pt x="475" y="321"/>
                  </a:lnTo>
                  <a:lnTo>
                    <a:pt x="485" y="321"/>
                  </a:lnTo>
                  <a:lnTo>
                    <a:pt x="505" y="306"/>
                  </a:lnTo>
                  <a:lnTo>
                    <a:pt x="550" y="300"/>
                  </a:lnTo>
                  <a:lnTo>
                    <a:pt x="555" y="293"/>
                  </a:lnTo>
                  <a:lnTo>
                    <a:pt x="563" y="289"/>
                  </a:lnTo>
                  <a:lnTo>
                    <a:pt x="565" y="276"/>
                  </a:lnTo>
                  <a:lnTo>
                    <a:pt x="574" y="272"/>
                  </a:lnTo>
                  <a:lnTo>
                    <a:pt x="574" y="257"/>
                  </a:lnTo>
                  <a:lnTo>
                    <a:pt x="567" y="252"/>
                  </a:lnTo>
                  <a:lnTo>
                    <a:pt x="567" y="241"/>
                  </a:lnTo>
                  <a:lnTo>
                    <a:pt x="572" y="237"/>
                  </a:lnTo>
                  <a:lnTo>
                    <a:pt x="578" y="239"/>
                  </a:lnTo>
                  <a:lnTo>
                    <a:pt x="589" y="239"/>
                  </a:lnTo>
                  <a:lnTo>
                    <a:pt x="602" y="239"/>
                  </a:lnTo>
                  <a:lnTo>
                    <a:pt x="604" y="237"/>
                  </a:lnTo>
                  <a:lnTo>
                    <a:pt x="608" y="224"/>
                  </a:lnTo>
                  <a:lnTo>
                    <a:pt x="617" y="224"/>
                  </a:lnTo>
                  <a:lnTo>
                    <a:pt x="630" y="211"/>
                  </a:lnTo>
                  <a:lnTo>
                    <a:pt x="630" y="207"/>
                  </a:lnTo>
                  <a:lnTo>
                    <a:pt x="634" y="198"/>
                  </a:lnTo>
                  <a:lnTo>
                    <a:pt x="639" y="198"/>
                  </a:lnTo>
                  <a:lnTo>
                    <a:pt x="643" y="203"/>
                  </a:lnTo>
                  <a:lnTo>
                    <a:pt x="645" y="203"/>
                  </a:lnTo>
                  <a:lnTo>
                    <a:pt x="645" y="196"/>
                  </a:lnTo>
                  <a:lnTo>
                    <a:pt x="649" y="196"/>
                  </a:lnTo>
                  <a:lnTo>
                    <a:pt x="654" y="188"/>
                  </a:lnTo>
                  <a:lnTo>
                    <a:pt x="667" y="183"/>
                  </a:lnTo>
                  <a:lnTo>
                    <a:pt x="680" y="188"/>
                  </a:lnTo>
                  <a:lnTo>
                    <a:pt x="682" y="183"/>
                  </a:lnTo>
                  <a:lnTo>
                    <a:pt x="675" y="175"/>
                  </a:lnTo>
                  <a:lnTo>
                    <a:pt x="669" y="168"/>
                  </a:lnTo>
                  <a:lnTo>
                    <a:pt x="658" y="159"/>
                  </a:lnTo>
                  <a:lnTo>
                    <a:pt x="649" y="153"/>
                  </a:lnTo>
                  <a:lnTo>
                    <a:pt x="639" y="157"/>
                  </a:lnTo>
                  <a:lnTo>
                    <a:pt x="632" y="166"/>
                  </a:lnTo>
                  <a:lnTo>
                    <a:pt x="628" y="164"/>
                  </a:lnTo>
                  <a:lnTo>
                    <a:pt x="617" y="164"/>
                  </a:lnTo>
                  <a:lnTo>
                    <a:pt x="615" y="166"/>
                  </a:lnTo>
                  <a:lnTo>
                    <a:pt x="604" y="157"/>
                  </a:lnTo>
                  <a:lnTo>
                    <a:pt x="608" y="153"/>
                  </a:lnTo>
                  <a:lnTo>
                    <a:pt x="608" y="146"/>
                  </a:lnTo>
                  <a:lnTo>
                    <a:pt x="608" y="123"/>
                  </a:lnTo>
                  <a:lnTo>
                    <a:pt x="611" y="114"/>
                  </a:lnTo>
                  <a:lnTo>
                    <a:pt x="617" y="114"/>
                  </a:lnTo>
                  <a:lnTo>
                    <a:pt x="630" y="116"/>
                  </a:lnTo>
                  <a:lnTo>
                    <a:pt x="645" y="103"/>
                  </a:lnTo>
                  <a:lnTo>
                    <a:pt x="639" y="93"/>
                  </a:lnTo>
                  <a:lnTo>
                    <a:pt x="643" y="73"/>
                  </a:lnTo>
                  <a:lnTo>
                    <a:pt x="649" y="43"/>
                  </a:lnTo>
                  <a:lnTo>
                    <a:pt x="645" y="39"/>
                  </a:lnTo>
                  <a:lnTo>
                    <a:pt x="639" y="30"/>
                  </a:lnTo>
                  <a:lnTo>
                    <a:pt x="632" y="30"/>
                  </a:lnTo>
                  <a:lnTo>
                    <a:pt x="639" y="15"/>
                  </a:lnTo>
                  <a:lnTo>
                    <a:pt x="667" y="4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3" name="Freeform 86"/>
            <p:cNvSpPr>
              <a:spLocks noChangeAspect="1"/>
            </p:cNvSpPr>
            <p:nvPr/>
          </p:nvSpPr>
          <p:spPr bwMode="auto">
            <a:xfrm>
              <a:off x="3822" y="2055"/>
              <a:ext cx="504" cy="502"/>
            </a:xfrm>
            <a:custGeom>
              <a:avLst/>
              <a:gdLst>
                <a:gd name="T0" fmla="*/ 1192 w 457"/>
                <a:gd name="T1" fmla="*/ 22 h 493"/>
                <a:gd name="T2" fmla="*/ 1348 w 457"/>
                <a:gd name="T3" fmla="*/ 70 h 493"/>
                <a:gd name="T4" fmla="*/ 1218 w 457"/>
                <a:gd name="T5" fmla="*/ 81 h 493"/>
                <a:gd name="T6" fmla="*/ 1382 w 457"/>
                <a:gd name="T7" fmla="*/ 117 h 493"/>
                <a:gd name="T8" fmla="*/ 1505 w 457"/>
                <a:gd name="T9" fmla="*/ 164 h 493"/>
                <a:gd name="T10" fmla="*/ 1639 w 457"/>
                <a:gd name="T11" fmla="*/ 196 h 493"/>
                <a:gd name="T12" fmla="*/ 2128 w 457"/>
                <a:gd name="T13" fmla="*/ 221 h 493"/>
                <a:gd name="T14" fmla="*/ 2331 w 457"/>
                <a:gd name="T15" fmla="*/ 238 h 493"/>
                <a:gd name="T16" fmla="*/ 2480 w 457"/>
                <a:gd name="T17" fmla="*/ 241 h 493"/>
                <a:gd name="T18" fmla="*/ 2676 w 457"/>
                <a:gd name="T19" fmla="*/ 201 h 493"/>
                <a:gd name="T20" fmla="*/ 2842 w 457"/>
                <a:gd name="T21" fmla="*/ 229 h 493"/>
                <a:gd name="T22" fmla="*/ 3099 w 457"/>
                <a:gd name="T23" fmla="*/ 218 h 493"/>
                <a:gd name="T24" fmla="*/ 3183 w 457"/>
                <a:gd name="T25" fmla="*/ 201 h 493"/>
                <a:gd name="T26" fmla="*/ 3332 w 457"/>
                <a:gd name="T27" fmla="*/ 176 h 493"/>
                <a:gd name="T28" fmla="*/ 3586 w 457"/>
                <a:gd name="T29" fmla="*/ 158 h 493"/>
                <a:gd name="T30" fmla="*/ 3686 w 457"/>
                <a:gd name="T31" fmla="*/ 170 h 493"/>
                <a:gd name="T32" fmla="*/ 3723 w 457"/>
                <a:gd name="T33" fmla="*/ 186 h 493"/>
                <a:gd name="T34" fmla="*/ 3758 w 457"/>
                <a:gd name="T35" fmla="*/ 204 h 493"/>
                <a:gd name="T36" fmla="*/ 3634 w 457"/>
                <a:gd name="T37" fmla="*/ 221 h 493"/>
                <a:gd name="T38" fmla="*/ 3475 w 457"/>
                <a:gd name="T39" fmla="*/ 274 h 493"/>
                <a:gd name="T40" fmla="*/ 3342 w 457"/>
                <a:gd name="T41" fmla="*/ 328 h 493"/>
                <a:gd name="T42" fmla="*/ 3252 w 457"/>
                <a:gd name="T43" fmla="*/ 341 h 493"/>
                <a:gd name="T44" fmla="*/ 3127 w 457"/>
                <a:gd name="T45" fmla="*/ 328 h 493"/>
                <a:gd name="T46" fmla="*/ 3078 w 457"/>
                <a:gd name="T47" fmla="*/ 305 h 493"/>
                <a:gd name="T48" fmla="*/ 3217 w 457"/>
                <a:gd name="T49" fmla="*/ 282 h 493"/>
                <a:gd name="T50" fmla="*/ 2875 w 457"/>
                <a:gd name="T51" fmla="*/ 258 h 493"/>
                <a:gd name="T52" fmla="*/ 2645 w 457"/>
                <a:gd name="T53" fmla="*/ 258 h 493"/>
                <a:gd name="T54" fmla="*/ 2676 w 457"/>
                <a:gd name="T55" fmla="*/ 274 h 493"/>
                <a:gd name="T56" fmla="*/ 2766 w 457"/>
                <a:gd name="T57" fmla="*/ 300 h 493"/>
                <a:gd name="T58" fmla="*/ 2766 w 457"/>
                <a:gd name="T59" fmla="*/ 358 h 493"/>
                <a:gd name="T60" fmla="*/ 2664 w 457"/>
                <a:gd name="T61" fmla="*/ 356 h 493"/>
                <a:gd name="T62" fmla="*/ 2505 w 457"/>
                <a:gd name="T63" fmla="*/ 379 h 493"/>
                <a:gd name="T64" fmla="*/ 2456 w 457"/>
                <a:gd name="T65" fmla="*/ 415 h 493"/>
                <a:gd name="T66" fmla="*/ 2331 w 457"/>
                <a:gd name="T67" fmla="*/ 422 h 493"/>
                <a:gd name="T68" fmla="*/ 1944 w 457"/>
                <a:gd name="T69" fmla="*/ 489 h 493"/>
                <a:gd name="T70" fmla="*/ 1763 w 457"/>
                <a:gd name="T71" fmla="*/ 516 h 493"/>
                <a:gd name="T72" fmla="*/ 1684 w 457"/>
                <a:gd name="T73" fmla="*/ 553 h 493"/>
                <a:gd name="T74" fmla="*/ 1704 w 457"/>
                <a:gd name="T75" fmla="*/ 585 h 493"/>
                <a:gd name="T76" fmla="*/ 1574 w 457"/>
                <a:gd name="T77" fmla="*/ 651 h 493"/>
                <a:gd name="T78" fmla="*/ 1481 w 457"/>
                <a:gd name="T79" fmla="*/ 680 h 493"/>
                <a:gd name="T80" fmla="*/ 1173 w 457"/>
                <a:gd name="T81" fmla="*/ 663 h 493"/>
                <a:gd name="T82" fmla="*/ 914 w 457"/>
                <a:gd name="T83" fmla="*/ 572 h 493"/>
                <a:gd name="T84" fmla="*/ 623 w 457"/>
                <a:gd name="T85" fmla="*/ 439 h 493"/>
                <a:gd name="T86" fmla="*/ 601 w 457"/>
                <a:gd name="T87" fmla="*/ 379 h 493"/>
                <a:gd name="T88" fmla="*/ 616 w 457"/>
                <a:gd name="T89" fmla="*/ 358 h 493"/>
                <a:gd name="T90" fmla="*/ 485 w 457"/>
                <a:gd name="T91" fmla="*/ 366 h 493"/>
                <a:gd name="T92" fmla="*/ 259 w 457"/>
                <a:gd name="T93" fmla="*/ 385 h 493"/>
                <a:gd name="T94" fmla="*/ 259 w 457"/>
                <a:gd name="T95" fmla="*/ 335 h 493"/>
                <a:gd name="T96" fmla="*/ 2 w 457"/>
                <a:gd name="T97" fmla="*/ 311 h 493"/>
                <a:gd name="T98" fmla="*/ 55 w 457"/>
                <a:gd name="T99" fmla="*/ 305 h 493"/>
                <a:gd name="T100" fmla="*/ 297 w 457"/>
                <a:gd name="T101" fmla="*/ 305 h 493"/>
                <a:gd name="T102" fmla="*/ 205 w 457"/>
                <a:gd name="T103" fmla="*/ 260 h 493"/>
                <a:gd name="T104" fmla="*/ 205 w 457"/>
                <a:gd name="T105" fmla="*/ 209 h 493"/>
                <a:gd name="T106" fmla="*/ 422 w 457"/>
                <a:gd name="T107" fmla="*/ 201 h 493"/>
                <a:gd name="T108" fmla="*/ 601 w 457"/>
                <a:gd name="T109" fmla="*/ 153 h 493"/>
                <a:gd name="T110" fmla="*/ 687 w 457"/>
                <a:gd name="T111" fmla="*/ 105 h 493"/>
                <a:gd name="T112" fmla="*/ 687 w 457"/>
                <a:gd name="T113" fmla="*/ 77 h 493"/>
                <a:gd name="T114" fmla="*/ 535 w 457"/>
                <a:gd name="T115" fmla="*/ 22 h 493"/>
                <a:gd name="T116" fmla="*/ 914 w 457"/>
                <a:gd name="T117" fmla="*/ 13 h 4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7"/>
                <a:gd name="T178" fmla="*/ 0 h 493"/>
                <a:gd name="T179" fmla="*/ 457 w 457"/>
                <a:gd name="T180" fmla="*/ 493 h 4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7" h="493">
                  <a:moveTo>
                    <a:pt x="125" y="0"/>
                  </a:moveTo>
                  <a:lnTo>
                    <a:pt x="129" y="0"/>
                  </a:lnTo>
                  <a:lnTo>
                    <a:pt x="140" y="13"/>
                  </a:lnTo>
                  <a:lnTo>
                    <a:pt x="144" y="22"/>
                  </a:lnTo>
                  <a:lnTo>
                    <a:pt x="146" y="29"/>
                  </a:lnTo>
                  <a:lnTo>
                    <a:pt x="151" y="41"/>
                  </a:lnTo>
                  <a:lnTo>
                    <a:pt x="155" y="44"/>
                  </a:lnTo>
                  <a:lnTo>
                    <a:pt x="161" y="50"/>
                  </a:lnTo>
                  <a:lnTo>
                    <a:pt x="153" y="59"/>
                  </a:lnTo>
                  <a:lnTo>
                    <a:pt x="146" y="54"/>
                  </a:lnTo>
                  <a:lnTo>
                    <a:pt x="144" y="57"/>
                  </a:lnTo>
                  <a:lnTo>
                    <a:pt x="146" y="61"/>
                  </a:lnTo>
                  <a:lnTo>
                    <a:pt x="151" y="61"/>
                  </a:lnTo>
                  <a:lnTo>
                    <a:pt x="151" y="70"/>
                  </a:lnTo>
                  <a:lnTo>
                    <a:pt x="155" y="85"/>
                  </a:lnTo>
                  <a:lnTo>
                    <a:pt x="166" y="80"/>
                  </a:lnTo>
                  <a:lnTo>
                    <a:pt x="170" y="85"/>
                  </a:lnTo>
                  <a:lnTo>
                    <a:pt x="189" y="95"/>
                  </a:lnTo>
                  <a:lnTo>
                    <a:pt x="185" y="108"/>
                  </a:lnTo>
                  <a:lnTo>
                    <a:pt x="181" y="115"/>
                  </a:lnTo>
                  <a:lnTo>
                    <a:pt x="185" y="121"/>
                  </a:lnTo>
                  <a:lnTo>
                    <a:pt x="177" y="123"/>
                  </a:lnTo>
                  <a:lnTo>
                    <a:pt x="185" y="130"/>
                  </a:lnTo>
                  <a:lnTo>
                    <a:pt x="196" y="136"/>
                  </a:lnTo>
                  <a:lnTo>
                    <a:pt x="209" y="141"/>
                  </a:lnTo>
                  <a:lnTo>
                    <a:pt x="220" y="145"/>
                  </a:lnTo>
                  <a:lnTo>
                    <a:pt x="239" y="152"/>
                  </a:lnTo>
                  <a:lnTo>
                    <a:pt x="254" y="154"/>
                  </a:lnTo>
                  <a:lnTo>
                    <a:pt x="256" y="158"/>
                  </a:lnTo>
                  <a:lnTo>
                    <a:pt x="267" y="164"/>
                  </a:lnTo>
                  <a:lnTo>
                    <a:pt x="271" y="160"/>
                  </a:lnTo>
                  <a:lnTo>
                    <a:pt x="280" y="167"/>
                  </a:lnTo>
                  <a:lnTo>
                    <a:pt x="282" y="167"/>
                  </a:lnTo>
                  <a:lnTo>
                    <a:pt x="291" y="167"/>
                  </a:lnTo>
                  <a:lnTo>
                    <a:pt x="297" y="167"/>
                  </a:lnTo>
                  <a:lnTo>
                    <a:pt x="297" y="169"/>
                  </a:lnTo>
                  <a:lnTo>
                    <a:pt x="312" y="169"/>
                  </a:lnTo>
                  <a:lnTo>
                    <a:pt x="310" y="152"/>
                  </a:lnTo>
                  <a:lnTo>
                    <a:pt x="312" y="141"/>
                  </a:lnTo>
                  <a:lnTo>
                    <a:pt x="321" y="139"/>
                  </a:lnTo>
                  <a:lnTo>
                    <a:pt x="321" y="149"/>
                  </a:lnTo>
                  <a:lnTo>
                    <a:pt x="321" y="154"/>
                  </a:lnTo>
                  <a:lnTo>
                    <a:pt x="330" y="158"/>
                  </a:lnTo>
                  <a:lnTo>
                    <a:pt x="341" y="160"/>
                  </a:lnTo>
                  <a:lnTo>
                    <a:pt x="349" y="158"/>
                  </a:lnTo>
                  <a:lnTo>
                    <a:pt x="349" y="160"/>
                  </a:lnTo>
                  <a:lnTo>
                    <a:pt x="375" y="160"/>
                  </a:lnTo>
                  <a:lnTo>
                    <a:pt x="371" y="152"/>
                  </a:lnTo>
                  <a:lnTo>
                    <a:pt x="364" y="149"/>
                  </a:lnTo>
                  <a:lnTo>
                    <a:pt x="364" y="141"/>
                  </a:lnTo>
                  <a:lnTo>
                    <a:pt x="371" y="141"/>
                  </a:lnTo>
                  <a:lnTo>
                    <a:pt x="382" y="139"/>
                  </a:lnTo>
                  <a:lnTo>
                    <a:pt x="384" y="136"/>
                  </a:lnTo>
                  <a:lnTo>
                    <a:pt x="386" y="134"/>
                  </a:lnTo>
                  <a:lnTo>
                    <a:pt x="386" y="126"/>
                  </a:lnTo>
                  <a:lnTo>
                    <a:pt x="399" y="123"/>
                  </a:lnTo>
                  <a:lnTo>
                    <a:pt x="401" y="119"/>
                  </a:lnTo>
                  <a:lnTo>
                    <a:pt x="410" y="115"/>
                  </a:lnTo>
                  <a:lnTo>
                    <a:pt x="425" y="119"/>
                  </a:lnTo>
                  <a:lnTo>
                    <a:pt x="429" y="111"/>
                  </a:lnTo>
                  <a:lnTo>
                    <a:pt x="436" y="108"/>
                  </a:lnTo>
                  <a:lnTo>
                    <a:pt x="440" y="111"/>
                  </a:lnTo>
                  <a:lnTo>
                    <a:pt x="436" y="119"/>
                  </a:lnTo>
                  <a:lnTo>
                    <a:pt x="442" y="119"/>
                  </a:lnTo>
                  <a:lnTo>
                    <a:pt x="442" y="123"/>
                  </a:lnTo>
                  <a:lnTo>
                    <a:pt x="440" y="130"/>
                  </a:lnTo>
                  <a:lnTo>
                    <a:pt x="446" y="126"/>
                  </a:lnTo>
                  <a:lnTo>
                    <a:pt x="446" y="130"/>
                  </a:lnTo>
                  <a:lnTo>
                    <a:pt x="451" y="130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1" y="141"/>
                  </a:lnTo>
                  <a:lnTo>
                    <a:pt x="455" y="152"/>
                  </a:lnTo>
                  <a:lnTo>
                    <a:pt x="451" y="154"/>
                  </a:lnTo>
                  <a:lnTo>
                    <a:pt x="448" y="152"/>
                  </a:lnTo>
                  <a:lnTo>
                    <a:pt x="436" y="154"/>
                  </a:lnTo>
                  <a:lnTo>
                    <a:pt x="425" y="167"/>
                  </a:lnTo>
                  <a:lnTo>
                    <a:pt x="425" y="180"/>
                  </a:lnTo>
                  <a:lnTo>
                    <a:pt x="416" y="184"/>
                  </a:lnTo>
                  <a:lnTo>
                    <a:pt x="416" y="190"/>
                  </a:lnTo>
                  <a:lnTo>
                    <a:pt x="416" y="199"/>
                  </a:lnTo>
                  <a:lnTo>
                    <a:pt x="412" y="214"/>
                  </a:lnTo>
                  <a:lnTo>
                    <a:pt x="401" y="214"/>
                  </a:lnTo>
                  <a:lnTo>
                    <a:pt x="401" y="229"/>
                  </a:lnTo>
                  <a:lnTo>
                    <a:pt x="397" y="229"/>
                  </a:lnTo>
                  <a:lnTo>
                    <a:pt x="399" y="247"/>
                  </a:lnTo>
                  <a:lnTo>
                    <a:pt x="394" y="247"/>
                  </a:lnTo>
                  <a:lnTo>
                    <a:pt x="390" y="238"/>
                  </a:lnTo>
                  <a:lnTo>
                    <a:pt x="384" y="229"/>
                  </a:lnTo>
                  <a:lnTo>
                    <a:pt x="384" y="223"/>
                  </a:lnTo>
                  <a:lnTo>
                    <a:pt x="377" y="229"/>
                  </a:lnTo>
                  <a:lnTo>
                    <a:pt x="375" y="229"/>
                  </a:lnTo>
                  <a:lnTo>
                    <a:pt x="371" y="229"/>
                  </a:lnTo>
                  <a:lnTo>
                    <a:pt x="369" y="229"/>
                  </a:lnTo>
                  <a:lnTo>
                    <a:pt x="364" y="214"/>
                  </a:lnTo>
                  <a:lnTo>
                    <a:pt x="369" y="214"/>
                  </a:lnTo>
                  <a:lnTo>
                    <a:pt x="371" y="206"/>
                  </a:lnTo>
                  <a:lnTo>
                    <a:pt x="382" y="203"/>
                  </a:lnTo>
                  <a:lnTo>
                    <a:pt x="382" y="197"/>
                  </a:lnTo>
                  <a:lnTo>
                    <a:pt x="384" y="195"/>
                  </a:lnTo>
                  <a:lnTo>
                    <a:pt x="382" y="188"/>
                  </a:lnTo>
                  <a:lnTo>
                    <a:pt x="345" y="190"/>
                  </a:lnTo>
                  <a:lnTo>
                    <a:pt x="347" y="188"/>
                  </a:lnTo>
                  <a:lnTo>
                    <a:pt x="345" y="180"/>
                  </a:lnTo>
                  <a:lnTo>
                    <a:pt x="334" y="173"/>
                  </a:lnTo>
                  <a:lnTo>
                    <a:pt x="325" y="167"/>
                  </a:lnTo>
                  <a:lnTo>
                    <a:pt x="319" y="167"/>
                  </a:lnTo>
                  <a:lnTo>
                    <a:pt x="317" y="180"/>
                  </a:lnTo>
                  <a:lnTo>
                    <a:pt x="321" y="184"/>
                  </a:lnTo>
                  <a:lnTo>
                    <a:pt x="325" y="184"/>
                  </a:lnTo>
                  <a:lnTo>
                    <a:pt x="332" y="190"/>
                  </a:lnTo>
                  <a:lnTo>
                    <a:pt x="321" y="190"/>
                  </a:lnTo>
                  <a:lnTo>
                    <a:pt x="321" y="197"/>
                  </a:lnTo>
                  <a:lnTo>
                    <a:pt x="317" y="199"/>
                  </a:lnTo>
                  <a:lnTo>
                    <a:pt x="321" y="206"/>
                  </a:lnTo>
                  <a:lnTo>
                    <a:pt x="332" y="210"/>
                  </a:lnTo>
                  <a:lnTo>
                    <a:pt x="330" y="218"/>
                  </a:lnTo>
                  <a:lnTo>
                    <a:pt x="341" y="253"/>
                  </a:lnTo>
                  <a:lnTo>
                    <a:pt x="332" y="255"/>
                  </a:lnTo>
                  <a:lnTo>
                    <a:pt x="332" y="249"/>
                  </a:lnTo>
                  <a:lnTo>
                    <a:pt x="325" y="259"/>
                  </a:lnTo>
                  <a:lnTo>
                    <a:pt x="321" y="255"/>
                  </a:lnTo>
                  <a:lnTo>
                    <a:pt x="321" y="247"/>
                  </a:lnTo>
                  <a:lnTo>
                    <a:pt x="319" y="247"/>
                  </a:lnTo>
                  <a:lnTo>
                    <a:pt x="319" y="253"/>
                  </a:lnTo>
                  <a:lnTo>
                    <a:pt x="306" y="259"/>
                  </a:lnTo>
                  <a:lnTo>
                    <a:pt x="300" y="264"/>
                  </a:lnTo>
                  <a:lnTo>
                    <a:pt x="304" y="275"/>
                  </a:lnTo>
                  <a:lnTo>
                    <a:pt x="300" y="279"/>
                  </a:lnTo>
                  <a:lnTo>
                    <a:pt x="297" y="283"/>
                  </a:lnTo>
                  <a:lnTo>
                    <a:pt x="295" y="290"/>
                  </a:lnTo>
                  <a:lnTo>
                    <a:pt x="282" y="294"/>
                  </a:lnTo>
                  <a:lnTo>
                    <a:pt x="282" y="290"/>
                  </a:lnTo>
                  <a:lnTo>
                    <a:pt x="276" y="294"/>
                  </a:lnTo>
                  <a:lnTo>
                    <a:pt x="280" y="294"/>
                  </a:lnTo>
                  <a:lnTo>
                    <a:pt x="265" y="313"/>
                  </a:lnTo>
                  <a:lnTo>
                    <a:pt x="252" y="324"/>
                  </a:lnTo>
                  <a:lnTo>
                    <a:pt x="239" y="335"/>
                  </a:lnTo>
                  <a:lnTo>
                    <a:pt x="233" y="341"/>
                  </a:lnTo>
                  <a:lnTo>
                    <a:pt x="235" y="344"/>
                  </a:lnTo>
                  <a:lnTo>
                    <a:pt x="224" y="350"/>
                  </a:lnTo>
                  <a:lnTo>
                    <a:pt x="218" y="354"/>
                  </a:lnTo>
                  <a:lnTo>
                    <a:pt x="211" y="359"/>
                  </a:lnTo>
                  <a:lnTo>
                    <a:pt x="209" y="359"/>
                  </a:lnTo>
                  <a:lnTo>
                    <a:pt x="202" y="363"/>
                  </a:lnTo>
                  <a:lnTo>
                    <a:pt x="200" y="374"/>
                  </a:lnTo>
                  <a:lnTo>
                    <a:pt x="202" y="385"/>
                  </a:lnTo>
                  <a:lnTo>
                    <a:pt x="202" y="389"/>
                  </a:lnTo>
                  <a:lnTo>
                    <a:pt x="202" y="400"/>
                  </a:lnTo>
                  <a:lnTo>
                    <a:pt x="200" y="400"/>
                  </a:lnTo>
                  <a:lnTo>
                    <a:pt x="205" y="408"/>
                  </a:lnTo>
                  <a:lnTo>
                    <a:pt x="200" y="421"/>
                  </a:lnTo>
                  <a:lnTo>
                    <a:pt x="196" y="430"/>
                  </a:lnTo>
                  <a:lnTo>
                    <a:pt x="200" y="454"/>
                  </a:lnTo>
                  <a:lnTo>
                    <a:pt x="189" y="454"/>
                  </a:lnTo>
                  <a:lnTo>
                    <a:pt x="185" y="467"/>
                  </a:lnTo>
                  <a:lnTo>
                    <a:pt x="192" y="469"/>
                  </a:lnTo>
                  <a:lnTo>
                    <a:pt x="189" y="473"/>
                  </a:lnTo>
                  <a:lnTo>
                    <a:pt x="177" y="473"/>
                  </a:lnTo>
                  <a:lnTo>
                    <a:pt x="170" y="480"/>
                  </a:lnTo>
                  <a:lnTo>
                    <a:pt x="170" y="484"/>
                  </a:lnTo>
                  <a:lnTo>
                    <a:pt x="161" y="493"/>
                  </a:lnTo>
                  <a:lnTo>
                    <a:pt x="140" y="462"/>
                  </a:lnTo>
                  <a:lnTo>
                    <a:pt x="144" y="465"/>
                  </a:lnTo>
                  <a:lnTo>
                    <a:pt x="131" y="436"/>
                  </a:lnTo>
                  <a:lnTo>
                    <a:pt x="123" y="421"/>
                  </a:lnTo>
                  <a:lnTo>
                    <a:pt x="110" y="398"/>
                  </a:lnTo>
                  <a:lnTo>
                    <a:pt x="105" y="378"/>
                  </a:lnTo>
                  <a:lnTo>
                    <a:pt x="95" y="363"/>
                  </a:lnTo>
                  <a:lnTo>
                    <a:pt x="79" y="318"/>
                  </a:lnTo>
                  <a:lnTo>
                    <a:pt x="75" y="305"/>
                  </a:lnTo>
                  <a:lnTo>
                    <a:pt x="73" y="283"/>
                  </a:lnTo>
                  <a:lnTo>
                    <a:pt x="73" y="270"/>
                  </a:lnTo>
                  <a:lnTo>
                    <a:pt x="71" y="264"/>
                  </a:lnTo>
                  <a:lnTo>
                    <a:pt x="73" y="259"/>
                  </a:lnTo>
                  <a:lnTo>
                    <a:pt x="71" y="255"/>
                  </a:lnTo>
                  <a:lnTo>
                    <a:pt x="66" y="249"/>
                  </a:lnTo>
                  <a:lnTo>
                    <a:pt x="73" y="249"/>
                  </a:lnTo>
                  <a:lnTo>
                    <a:pt x="73" y="247"/>
                  </a:lnTo>
                  <a:lnTo>
                    <a:pt x="64" y="247"/>
                  </a:lnTo>
                  <a:lnTo>
                    <a:pt x="64" y="253"/>
                  </a:lnTo>
                  <a:lnTo>
                    <a:pt x="58" y="255"/>
                  </a:lnTo>
                  <a:lnTo>
                    <a:pt x="64" y="259"/>
                  </a:lnTo>
                  <a:lnTo>
                    <a:pt x="60" y="268"/>
                  </a:lnTo>
                  <a:lnTo>
                    <a:pt x="43" y="275"/>
                  </a:lnTo>
                  <a:lnTo>
                    <a:pt x="30" y="268"/>
                  </a:lnTo>
                  <a:lnTo>
                    <a:pt x="10" y="247"/>
                  </a:lnTo>
                  <a:lnTo>
                    <a:pt x="15" y="247"/>
                  </a:lnTo>
                  <a:lnTo>
                    <a:pt x="30" y="240"/>
                  </a:lnTo>
                  <a:lnTo>
                    <a:pt x="30" y="234"/>
                  </a:lnTo>
                  <a:lnTo>
                    <a:pt x="17" y="240"/>
                  </a:lnTo>
                  <a:lnTo>
                    <a:pt x="2" y="229"/>
                  </a:lnTo>
                  <a:lnTo>
                    <a:pt x="0" y="223"/>
                  </a:lnTo>
                  <a:lnTo>
                    <a:pt x="2" y="218"/>
                  </a:lnTo>
                  <a:lnTo>
                    <a:pt x="0" y="218"/>
                  </a:lnTo>
                  <a:lnTo>
                    <a:pt x="0" y="214"/>
                  </a:lnTo>
                  <a:lnTo>
                    <a:pt x="6" y="214"/>
                  </a:lnTo>
                  <a:lnTo>
                    <a:pt x="21" y="214"/>
                  </a:lnTo>
                  <a:lnTo>
                    <a:pt x="25" y="214"/>
                  </a:lnTo>
                  <a:lnTo>
                    <a:pt x="32" y="210"/>
                  </a:lnTo>
                  <a:lnTo>
                    <a:pt x="36" y="214"/>
                  </a:lnTo>
                  <a:lnTo>
                    <a:pt x="41" y="210"/>
                  </a:lnTo>
                  <a:lnTo>
                    <a:pt x="41" y="206"/>
                  </a:lnTo>
                  <a:lnTo>
                    <a:pt x="30" y="184"/>
                  </a:lnTo>
                  <a:lnTo>
                    <a:pt x="25" y="182"/>
                  </a:lnTo>
                  <a:lnTo>
                    <a:pt x="25" y="167"/>
                  </a:lnTo>
                  <a:lnTo>
                    <a:pt x="10" y="164"/>
                  </a:lnTo>
                  <a:lnTo>
                    <a:pt x="21" y="149"/>
                  </a:lnTo>
                  <a:lnTo>
                    <a:pt x="25" y="145"/>
                  </a:lnTo>
                  <a:lnTo>
                    <a:pt x="25" y="141"/>
                  </a:lnTo>
                  <a:lnTo>
                    <a:pt x="30" y="149"/>
                  </a:lnTo>
                  <a:lnTo>
                    <a:pt x="49" y="141"/>
                  </a:lnTo>
                  <a:lnTo>
                    <a:pt x="51" y="139"/>
                  </a:lnTo>
                  <a:lnTo>
                    <a:pt x="56" y="136"/>
                  </a:lnTo>
                  <a:lnTo>
                    <a:pt x="56" y="126"/>
                  </a:lnTo>
                  <a:lnTo>
                    <a:pt x="71" y="119"/>
                  </a:lnTo>
                  <a:lnTo>
                    <a:pt x="71" y="108"/>
                  </a:lnTo>
                  <a:lnTo>
                    <a:pt x="75" y="102"/>
                  </a:lnTo>
                  <a:lnTo>
                    <a:pt x="82" y="89"/>
                  </a:lnTo>
                  <a:lnTo>
                    <a:pt x="90" y="85"/>
                  </a:lnTo>
                  <a:lnTo>
                    <a:pt x="82" y="74"/>
                  </a:lnTo>
                  <a:lnTo>
                    <a:pt x="90" y="70"/>
                  </a:lnTo>
                  <a:lnTo>
                    <a:pt x="95" y="65"/>
                  </a:lnTo>
                  <a:lnTo>
                    <a:pt x="95" y="59"/>
                  </a:lnTo>
                  <a:lnTo>
                    <a:pt x="82" y="57"/>
                  </a:lnTo>
                  <a:lnTo>
                    <a:pt x="79" y="50"/>
                  </a:lnTo>
                  <a:lnTo>
                    <a:pt x="73" y="46"/>
                  </a:lnTo>
                  <a:lnTo>
                    <a:pt x="73" y="31"/>
                  </a:lnTo>
                  <a:lnTo>
                    <a:pt x="64" y="22"/>
                  </a:lnTo>
                  <a:lnTo>
                    <a:pt x="71" y="16"/>
                  </a:lnTo>
                  <a:lnTo>
                    <a:pt x="86" y="16"/>
                  </a:lnTo>
                  <a:lnTo>
                    <a:pt x="95" y="20"/>
                  </a:lnTo>
                  <a:lnTo>
                    <a:pt x="110" y="13"/>
                  </a:lnTo>
                  <a:lnTo>
                    <a:pt x="123" y="5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4" name="Freeform 87"/>
            <p:cNvSpPr>
              <a:spLocks noChangeAspect="1"/>
            </p:cNvSpPr>
            <p:nvPr/>
          </p:nvSpPr>
          <p:spPr bwMode="auto">
            <a:xfrm>
              <a:off x="4323" y="2599"/>
              <a:ext cx="196" cy="197"/>
            </a:xfrm>
            <a:custGeom>
              <a:avLst/>
              <a:gdLst>
                <a:gd name="T0" fmla="*/ 1288 w 177"/>
                <a:gd name="T1" fmla="*/ 243 h 194"/>
                <a:gd name="T2" fmla="*/ 1164 w 177"/>
                <a:gd name="T3" fmla="*/ 228 h 194"/>
                <a:gd name="T4" fmla="*/ 1040 w 177"/>
                <a:gd name="T5" fmla="*/ 208 h 194"/>
                <a:gd name="T6" fmla="*/ 857 w 177"/>
                <a:gd name="T7" fmla="*/ 172 h 194"/>
                <a:gd name="T8" fmla="*/ 766 w 177"/>
                <a:gd name="T9" fmla="*/ 154 h 194"/>
                <a:gd name="T10" fmla="*/ 670 w 177"/>
                <a:gd name="T11" fmla="*/ 139 h 194"/>
                <a:gd name="T12" fmla="*/ 590 w 177"/>
                <a:gd name="T13" fmla="*/ 119 h 194"/>
                <a:gd name="T14" fmla="*/ 540 w 177"/>
                <a:gd name="T15" fmla="*/ 84 h 194"/>
                <a:gd name="T16" fmla="*/ 351 w 177"/>
                <a:gd name="T17" fmla="*/ 67 h 194"/>
                <a:gd name="T18" fmla="*/ 229 w 177"/>
                <a:gd name="T19" fmla="*/ 54 h 194"/>
                <a:gd name="T20" fmla="*/ 2 w 177"/>
                <a:gd name="T21" fmla="*/ 15 h 194"/>
                <a:gd name="T22" fmla="*/ 0 w 177"/>
                <a:gd name="T23" fmla="*/ 0 h 194"/>
                <a:gd name="T24" fmla="*/ 216 w 177"/>
                <a:gd name="T25" fmla="*/ 6 h 194"/>
                <a:gd name="T26" fmla="*/ 460 w 177"/>
                <a:gd name="T27" fmla="*/ 19 h 194"/>
                <a:gd name="T28" fmla="*/ 630 w 177"/>
                <a:gd name="T29" fmla="*/ 58 h 194"/>
                <a:gd name="T30" fmla="*/ 795 w 177"/>
                <a:gd name="T31" fmla="*/ 78 h 194"/>
                <a:gd name="T32" fmla="*/ 880 w 177"/>
                <a:gd name="T33" fmla="*/ 78 h 194"/>
                <a:gd name="T34" fmla="*/ 951 w 177"/>
                <a:gd name="T35" fmla="*/ 89 h 194"/>
                <a:gd name="T36" fmla="*/ 1040 w 177"/>
                <a:gd name="T37" fmla="*/ 97 h 194"/>
                <a:gd name="T38" fmla="*/ 1153 w 177"/>
                <a:gd name="T39" fmla="*/ 115 h 194"/>
                <a:gd name="T40" fmla="*/ 1153 w 177"/>
                <a:gd name="T41" fmla="*/ 119 h 194"/>
                <a:gd name="T42" fmla="*/ 1244 w 177"/>
                <a:gd name="T43" fmla="*/ 119 h 194"/>
                <a:gd name="T44" fmla="*/ 1206 w 177"/>
                <a:gd name="T45" fmla="*/ 139 h 194"/>
                <a:gd name="T46" fmla="*/ 1206 w 177"/>
                <a:gd name="T47" fmla="*/ 143 h 194"/>
                <a:gd name="T48" fmla="*/ 1352 w 177"/>
                <a:gd name="T49" fmla="*/ 150 h 194"/>
                <a:gd name="T50" fmla="*/ 1414 w 177"/>
                <a:gd name="T51" fmla="*/ 172 h 194"/>
                <a:gd name="T52" fmla="*/ 1446 w 177"/>
                <a:gd name="T53" fmla="*/ 178 h 194"/>
                <a:gd name="T54" fmla="*/ 1566 w 177"/>
                <a:gd name="T55" fmla="*/ 192 h 194"/>
                <a:gd name="T56" fmla="*/ 1516 w 177"/>
                <a:gd name="T57" fmla="*/ 208 h 194"/>
                <a:gd name="T58" fmla="*/ 1566 w 177"/>
                <a:gd name="T59" fmla="*/ 226 h 194"/>
                <a:gd name="T60" fmla="*/ 1446 w 177"/>
                <a:gd name="T61" fmla="*/ 248 h 194"/>
                <a:gd name="T62" fmla="*/ 1378 w 177"/>
                <a:gd name="T63" fmla="*/ 253 h 19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77"/>
                <a:gd name="T97" fmla="*/ 0 h 194"/>
                <a:gd name="T98" fmla="*/ 177 w 177"/>
                <a:gd name="T99" fmla="*/ 194 h 19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77" h="194">
                  <a:moveTo>
                    <a:pt x="153" y="194"/>
                  </a:moveTo>
                  <a:lnTo>
                    <a:pt x="142" y="179"/>
                  </a:lnTo>
                  <a:lnTo>
                    <a:pt x="138" y="174"/>
                  </a:lnTo>
                  <a:lnTo>
                    <a:pt x="129" y="168"/>
                  </a:lnTo>
                  <a:lnTo>
                    <a:pt x="114" y="159"/>
                  </a:lnTo>
                  <a:lnTo>
                    <a:pt x="114" y="153"/>
                  </a:lnTo>
                  <a:lnTo>
                    <a:pt x="104" y="144"/>
                  </a:lnTo>
                  <a:lnTo>
                    <a:pt x="95" y="129"/>
                  </a:lnTo>
                  <a:lnTo>
                    <a:pt x="95" y="127"/>
                  </a:lnTo>
                  <a:lnTo>
                    <a:pt x="84" y="114"/>
                  </a:lnTo>
                  <a:lnTo>
                    <a:pt x="84" y="110"/>
                  </a:lnTo>
                  <a:lnTo>
                    <a:pt x="75" y="99"/>
                  </a:lnTo>
                  <a:lnTo>
                    <a:pt x="73" y="92"/>
                  </a:lnTo>
                  <a:lnTo>
                    <a:pt x="65" y="88"/>
                  </a:lnTo>
                  <a:lnTo>
                    <a:pt x="58" y="69"/>
                  </a:lnTo>
                  <a:lnTo>
                    <a:pt x="60" y="64"/>
                  </a:lnTo>
                  <a:lnTo>
                    <a:pt x="41" y="54"/>
                  </a:lnTo>
                  <a:lnTo>
                    <a:pt x="39" y="47"/>
                  </a:lnTo>
                  <a:lnTo>
                    <a:pt x="37" y="47"/>
                  </a:lnTo>
                  <a:lnTo>
                    <a:pt x="26" y="34"/>
                  </a:lnTo>
                  <a:lnTo>
                    <a:pt x="24" y="34"/>
                  </a:lnTo>
                  <a:lnTo>
                    <a:pt x="2" y="15"/>
                  </a:lnTo>
                  <a:lnTo>
                    <a:pt x="0" y="6"/>
                  </a:lnTo>
                  <a:lnTo>
                    <a:pt x="0" y="0"/>
                  </a:lnTo>
                  <a:lnTo>
                    <a:pt x="9" y="0"/>
                  </a:lnTo>
                  <a:lnTo>
                    <a:pt x="24" y="6"/>
                  </a:lnTo>
                  <a:lnTo>
                    <a:pt x="37" y="6"/>
                  </a:lnTo>
                  <a:lnTo>
                    <a:pt x="50" y="19"/>
                  </a:lnTo>
                  <a:lnTo>
                    <a:pt x="50" y="23"/>
                  </a:lnTo>
                  <a:lnTo>
                    <a:pt x="69" y="38"/>
                  </a:lnTo>
                  <a:lnTo>
                    <a:pt x="80" y="47"/>
                  </a:lnTo>
                  <a:lnTo>
                    <a:pt x="88" y="58"/>
                  </a:lnTo>
                  <a:lnTo>
                    <a:pt x="95" y="54"/>
                  </a:lnTo>
                  <a:lnTo>
                    <a:pt x="97" y="58"/>
                  </a:lnTo>
                  <a:lnTo>
                    <a:pt x="99" y="69"/>
                  </a:lnTo>
                  <a:lnTo>
                    <a:pt x="106" y="69"/>
                  </a:lnTo>
                  <a:lnTo>
                    <a:pt x="110" y="73"/>
                  </a:lnTo>
                  <a:lnTo>
                    <a:pt x="114" y="77"/>
                  </a:lnTo>
                  <a:lnTo>
                    <a:pt x="123" y="84"/>
                  </a:lnTo>
                  <a:lnTo>
                    <a:pt x="127" y="86"/>
                  </a:lnTo>
                  <a:lnTo>
                    <a:pt x="121" y="88"/>
                  </a:lnTo>
                  <a:lnTo>
                    <a:pt x="127" y="88"/>
                  </a:lnTo>
                  <a:lnTo>
                    <a:pt x="134" y="86"/>
                  </a:lnTo>
                  <a:lnTo>
                    <a:pt x="138" y="88"/>
                  </a:lnTo>
                  <a:lnTo>
                    <a:pt x="138" y="95"/>
                  </a:lnTo>
                  <a:lnTo>
                    <a:pt x="134" y="99"/>
                  </a:lnTo>
                  <a:lnTo>
                    <a:pt x="138" y="99"/>
                  </a:lnTo>
                  <a:lnTo>
                    <a:pt x="134" y="103"/>
                  </a:lnTo>
                  <a:lnTo>
                    <a:pt x="138" y="108"/>
                  </a:lnTo>
                  <a:lnTo>
                    <a:pt x="149" y="110"/>
                  </a:lnTo>
                  <a:lnTo>
                    <a:pt x="153" y="118"/>
                  </a:lnTo>
                  <a:lnTo>
                    <a:pt x="157" y="129"/>
                  </a:lnTo>
                  <a:lnTo>
                    <a:pt x="155" y="133"/>
                  </a:lnTo>
                  <a:lnTo>
                    <a:pt x="160" y="133"/>
                  </a:lnTo>
                  <a:lnTo>
                    <a:pt x="166" y="133"/>
                  </a:lnTo>
                  <a:lnTo>
                    <a:pt x="173" y="142"/>
                  </a:lnTo>
                  <a:lnTo>
                    <a:pt x="177" y="144"/>
                  </a:lnTo>
                  <a:lnTo>
                    <a:pt x="168" y="153"/>
                  </a:lnTo>
                  <a:lnTo>
                    <a:pt x="173" y="157"/>
                  </a:lnTo>
                  <a:lnTo>
                    <a:pt x="173" y="166"/>
                  </a:lnTo>
                  <a:lnTo>
                    <a:pt x="168" y="190"/>
                  </a:lnTo>
                  <a:lnTo>
                    <a:pt x="160" y="183"/>
                  </a:lnTo>
                  <a:lnTo>
                    <a:pt x="157" y="190"/>
                  </a:lnTo>
                  <a:lnTo>
                    <a:pt x="153" y="187"/>
                  </a:lnTo>
                  <a:lnTo>
                    <a:pt x="153" y="194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5" name="Freeform 88"/>
            <p:cNvSpPr>
              <a:spLocks noChangeAspect="1"/>
            </p:cNvSpPr>
            <p:nvPr/>
          </p:nvSpPr>
          <p:spPr bwMode="auto">
            <a:xfrm>
              <a:off x="4970" y="2699"/>
              <a:ext cx="179" cy="156"/>
            </a:xfrm>
            <a:custGeom>
              <a:avLst/>
              <a:gdLst>
                <a:gd name="T0" fmla="*/ 1396 w 162"/>
                <a:gd name="T1" fmla="*/ 224 h 153"/>
                <a:gd name="T2" fmla="*/ 1191 w 162"/>
                <a:gd name="T3" fmla="*/ 204 h 153"/>
                <a:gd name="T4" fmla="*/ 1105 w 162"/>
                <a:gd name="T5" fmla="*/ 184 h 153"/>
                <a:gd name="T6" fmla="*/ 1038 w 162"/>
                <a:gd name="T7" fmla="*/ 158 h 153"/>
                <a:gd name="T8" fmla="*/ 884 w 162"/>
                <a:gd name="T9" fmla="*/ 122 h 153"/>
                <a:gd name="T10" fmla="*/ 578 w 162"/>
                <a:gd name="T11" fmla="*/ 101 h 153"/>
                <a:gd name="T12" fmla="*/ 554 w 162"/>
                <a:gd name="T13" fmla="*/ 93 h 153"/>
                <a:gd name="T14" fmla="*/ 515 w 162"/>
                <a:gd name="T15" fmla="*/ 83 h 153"/>
                <a:gd name="T16" fmla="*/ 453 w 162"/>
                <a:gd name="T17" fmla="*/ 79 h 153"/>
                <a:gd name="T18" fmla="*/ 360 w 162"/>
                <a:gd name="T19" fmla="*/ 74 h 153"/>
                <a:gd name="T20" fmla="*/ 388 w 162"/>
                <a:gd name="T21" fmla="*/ 65 h 153"/>
                <a:gd name="T22" fmla="*/ 360 w 162"/>
                <a:gd name="T23" fmla="*/ 74 h 153"/>
                <a:gd name="T24" fmla="*/ 267 w 162"/>
                <a:gd name="T25" fmla="*/ 93 h 153"/>
                <a:gd name="T26" fmla="*/ 267 w 162"/>
                <a:gd name="T27" fmla="*/ 70 h 153"/>
                <a:gd name="T28" fmla="*/ 208 w 162"/>
                <a:gd name="T29" fmla="*/ 65 h 153"/>
                <a:gd name="T30" fmla="*/ 194 w 162"/>
                <a:gd name="T31" fmla="*/ 63 h 153"/>
                <a:gd name="T32" fmla="*/ 318 w 162"/>
                <a:gd name="T33" fmla="*/ 59 h 153"/>
                <a:gd name="T34" fmla="*/ 360 w 162"/>
                <a:gd name="T35" fmla="*/ 59 h 153"/>
                <a:gd name="T36" fmla="*/ 360 w 162"/>
                <a:gd name="T37" fmla="*/ 54 h 153"/>
                <a:gd name="T38" fmla="*/ 194 w 162"/>
                <a:gd name="T39" fmla="*/ 57 h 153"/>
                <a:gd name="T40" fmla="*/ 147 w 162"/>
                <a:gd name="T41" fmla="*/ 24 h 153"/>
                <a:gd name="T42" fmla="*/ 0 w 162"/>
                <a:gd name="T43" fmla="*/ 19 h 153"/>
                <a:gd name="T44" fmla="*/ 2 w 162"/>
                <a:gd name="T45" fmla="*/ 9 h 153"/>
                <a:gd name="T46" fmla="*/ 208 w 162"/>
                <a:gd name="T47" fmla="*/ 0 h 153"/>
                <a:gd name="T48" fmla="*/ 388 w 162"/>
                <a:gd name="T49" fmla="*/ 9 h 153"/>
                <a:gd name="T50" fmla="*/ 453 w 162"/>
                <a:gd name="T51" fmla="*/ 21 h 153"/>
                <a:gd name="T52" fmla="*/ 486 w 162"/>
                <a:gd name="T53" fmla="*/ 63 h 153"/>
                <a:gd name="T54" fmla="*/ 505 w 162"/>
                <a:gd name="T55" fmla="*/ 59 h 153"/>
                <a:gd name="T56" fmla="*/ 515 w 162"/>
                <a:gd name="T57" fmla="*/ 65 h 153"/>
                <a:gd name="T58" fmla="*/ 578 w 162"/>
                <a:gd name="T59" fmla="*/ 74 h 153"/>
                <a:gd name="T60" fmla="*/ 747 w 162"/>
                <a:gd name="T61" fmla="*/ 57 h 153"/>
                <a:gd name="T62" fmla="*/ 844 w 162"/>
                <a:gd name="T63" fmla="*/ 48 h 153"/>
                <a:gd name="T64" fmla="*/ 1191 w 162"/>
                <a:gd name="T65" fmla="*/ 54 h 153"/>
                <a:gd name="T66" fmla="*/ 1400 w 162"/>
                <a:gd name="T67" fmla="*/ 63 h 15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2"/>
                <a:gd name="T103" fmla="*/ 0 h 153"/>
                <a:gd name="T104" fmla="*/ 162 w 162"/>
                <a:gd name="T105" fmla="*/ 153 h 15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2" h="153">
                  <a:moveTo>
                    <a:pt x="162" y="43"/>
                  </a:moveTo>
                  <a:lnTo>
                    <a:pt x="160" y="153"/>
                  </a:lnTo>
                  <a:lnTo>
                    <a:pt x="142" y="134"/>
                  </a:lnTo>
                  <a:lnTo>
                    <a:pt x="136" y="138"/>
                  </a:lnTo>
                  <a:lnTo>
                    <a:pt x="127" y="134"/>
                  </a:lnTo>
                  <a:lnTo>
                    <a:pt x="127" y="125"/>
                  </a:lnTo>
                  <a:lnTo>
                    <a:pt x="121" y="114"/>
                  </a:lnTo>
                  <a:lnTo>
                    <a:pt x="121" y="108"/>
                  </a:lnTo>
                  <a:lnTo>
                    <a:pt x="112" y="91"/>
                  </a:lnTo>
                  <a:lnTo>
                    <a:pt x="101" y="82"/>
                  </a:lnTo>
                  <a:lnTo>
                    <a:pt x="80" y="73"/>
                  </a:lnTo>
                  <a:lnTo>
                    <a:pt x="67" y="69"/>
                  </a:lnTo>
                  <a:lnTo>
                    <a:pt x="60" y="65"/>
                  </a:lnTo>
                  <a:lnTo>
                    <a:pt x="63" y="65"/>
                  </a:lnTo>
                  <a:lnTo>
                    <a:pt x="63" y="60"/>
                  </a:lnTo>
                  <a:lnTo>
                    <a:pt x="6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47" y="60"/>
                  </a:lnTo>
                  <a:lnTo>
                    <a:pt x="41" y="54"/>
                  </a:lnTo>
                  <a:lnTo>
                    <a:pt x="45" y="50"/>
                  </a:lnTo>
                  <a:lnTo>
                    <a:pt x="45" y="45"/>
                  </a:lnTo>
                  <a:lnTo>
                    <a:pt x="41" y="50"/>
                  </a:lnTo>
                  <a:lnTo>
                    <a:pt x="41" y="54"/>
                  </a:lnTo>
                  <a:lnTo>
                    <a:pt x="37" y="60"/>
                  </a:lnTo>
                  <a:lnTo>
                    <a:pt x="30" y="65"/>
                  </a:lnTo>
                  <a:lnTo>
                    <a:pt x="26" y="58"/>
                  </a:lnTo>
                  <a:lnTo>
                    <a:pt x="30" y="50"/>
                  </a:lnTo>
                  <a:lnTo>
                    <a:pt x="26" y="50"/>
                  </a:lnTo>
                  <a:lnTo>
                    <a:pt x="24" y="45"/>
                  </a:lnTo>
                  <a:lnTo>
                    <a:pt x="15" y="45"/>
                  </a:lnTo>
                  <a:lnTo>
                    <a:pt x="22" y="43"/>
                  </a:lnTo>
                  <a:lnTo>
                    <a:pt x="26" y="43"/>
                  </a:lnTo>
                  <a:lnTo>
                    <a:pt x="37" y="39"/>
                  </a:lnTo>
                  <a:lnTo>
                    <a:pt x="41" y="39"/>
                  </a:lnTo>
                  <a:lnTo>
                    <a:pt x="45" y="37"/>
                  </a:lnTo>
                  <a:lnTo>
                    <a:pt x="41" y="34"/>
                  </a:lnTo>
                  <a:lnTo>
                    <a:pt x="32" y="34"/>
                  </a:lnTo>
                  <a:lnTo>
                    <a:pt x="22" y="37"/>
                  </a:lnTo>
                  <a:lnTo>
                    <a:pt x="17" y="28"/>
                  </a:lnTo>
                  <a:lnTo>
                    <a:pt x="17" y="24"/>
                  </a:lnTo>
                  <a:lnTo>
                    <a:pt x="11" y="21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2" y="9"/>
                  </a:lnTo>
                  <a:lnTo>
                    <a:pt x="11" y="6"/>
                  </a:lnTo>
                  <a:lnTo>
                    <a:pt x="24" y="0"/>
                  </a:lnTo>
                  <a:lnTo>
                    <a:pt x="32" y="6"/>
                  </a:lnTo>
                  <a:lnTo>
                    <a:pt x="45" y="9"/>
                  </a:lnTo>
                  <a:lnTo>
                    <a:pt x="47" y="11"/>
                  </a:lnTo>
                  <a:lnTo>
                    <a:pt x="52" y="21"/>
                  </a:lnTo>
                  <a:lnTo>
                    <a:pt x="47" y="28"/>
                  </a:lnTo>
                  <a:lnTo>
                    <a:pt x="56" y="43"/>
                  </a:lnTo>
                  <a:lnTo>
                    <a:pt x="56" y="39"/>
                  </a:lnTo>
                  <a:lnTo>
                    <a:pt x="58" y="39"/>
                  </a:lnTo>
                  <a:lnTo>
                    <a:pt x="60" y="43"/>
                  </a:lnTo>
                  <a:lnTo>
                    <a:pt x="60" y="45"/>
                  </a:lnTo>
                  <a:lnTo>
                    <a:pt x="60" y="50"/>
                  </a:lnTo>
                  <a:lnTo>
                    <a:pt x="67" y="54"/>
                  </a:lnTo>
                  <a:lnTo>
                    <a:pt x="73" y="50"/>
                  </a:lnTo>
                  <a:lnTo>
                    <a:pt x="86" y="37"/>
                  </a:lnTo>
                  <a:lnTo>
                    <a:pt x="101" y="34"/>
                  </a:lnTo>
                  <a:lnTo>
                    <a:pt x="97" y="28"/>
                  </a:lnTo>
                  <a:lnTo>
                    <a:pt x="110" y="21"/>
                  </a:lnTo>
                  <a:lnTo>
                    <a:pt x="136" y="34"/>
                  </a:lnTo>
                  <a:lnTo>
                    <a:pt x="151" y="37"/>
                  </a:lnTo>
                  <a:lnTo>
                    <a:pt x="162" y="43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6" name="Freeform 89"/>
            <p:cNvSpPr>
              <a:spLocks noChangeAspect="1"/>
            </p:cNvSpPr>
            <p:nvPr/>
          </p:nvSpPr>
          <p:spPr bwMode="auto">
            <a:xfrm>
              <a:off x="4746" y="2664"/>
              <a:ext cx="117" cy="128"/>
            </a:xfrm>
            <a:custGeom>
              <a:avLst/>
              <a:gdLst>
                <a:gd name="T0" fmla="*/ 92 w 106"/>
                <a:gd name="T1" fmla="*/ 165 h 126"/>
                <a:gd name="T2" fmla="*/ 125 w 106"/>
                <a:gd name="T3" fmla="*/ 148 h 126"/>
                <a:gd name="T4" fmla="*/ 92 w 106"/>
                <a:gd name="T5" fmla="*/ 123 h 126"/>
                <a:gd name="T6" fmla="*/ 2 w 106"/>
                <a:gd name="T7" fmla="*/ 105 h 126"/>
                <a:gd name="T8" fmla="*/ 62 w 106"/>
                <a:gd name="T9" fmla="*/ 94 h 126"/>
                <a:gd name="T10" fmla="*/ 92 w 106"/>
                <a:gd name="T11" fmla="*/ 83 h 126"/>
                <a:gd name="T12" fmla="*/ 92 w 106"/>
                <a:gd name="T13" fmla="*/ 66 h 126"/>
                <a:gd name="T14" fmla="*/ 189 w 106"/>
                <a:gd name="T15" fmla="*/ 31 h 126"/>
                <a:gd name="T16" fmla="*/ 204 w 106"/>
                <a:gd name="T17" fmla="*/ 15 h 126"/>
                <a:gd name="T18" fmla="*/ 262 w 106"/>
                <a:gd name="T19" fmla="*/ 20 h 126"/>
                <a:gd name="T20" fmla="*/ 310 w 106"/>
                <a:gd name="T21" fmla="*/ 11 h 126"/>
                <a:gd name="T22" fmla="*/ 380 w 106"/>
                <a:gd name="T23" fmla="*/ 13 h 126"/>
                <a:gd name="T24" fmla="*/ 621 w 106"/>
                <a:gd name="T25" fmla="*/ 15 h 126"/>
                <a:gd name="T26" fmla="*/ 834 w 106"/>
                <a:gd name="T27" fmla="*/ 7 h 126"/>
                <a:gd name="T28" fmla="*/ 893 w 106"/>
                <a:gd name="T29" fmla="*/ 5 h 126"/>
                <a:gd name="T30" fmla="*/ 821 w 106"/>
                <a:gd name="T31" fmla="*/ 20 h 126"/>
                <a:gd name="T32" fmla="*/ 682 w 106"/>
                <a:gd name="T33" fmla="*/ 24 h 126"/>
                <a:gd name="T34" fmla="*/ 494 w 106"/>
                <a:gd name="T35" fmla="*/ 24 h 126"/>
                <a:gd name="T36" fmla="*/ 344 w 106"/>
                <a:gd name="T37" fmla="*/ 22 h 126"/>
                <a:gd name="T38" fmla="*/ 215 w 106"/>
                <a:gd name="T39" fmla="*/ 22 h 126"/>
                <a:gd name="T40" fmla="*/ 204 w 106"/>
                <a:gd name="T41" fmla="*/ 64 h 126"/>
                <a:gd name="T42" fmla="*/ 296 w 106"/>
                <a:gd name="T43" fmla="*/ 74 h 126"/>
                <a:gd name="T44" fmla="*/ 380 w 106"/>
                <a:gd name="T45" fmla="*/ 64 h 126"/>
                <a:gd name="T46" fmla="*/ 462 w 106"/>
                <a:gd name="T47" fmla="*/ 66 h 126"/>
                <a:gd name="T48" fmla="*/ 566 w 106"/>
                <a:gd name="T49" fmla="*/ 64 h 126"/>
                <a:gd name="T50" fmla="*/ 621 w 106"/>
                <a:gd name="T51" fmla="*/ 59 h 126"/>
                <a:gd name="T52" fmla="*/ 637 w 106"/>
                <a:gd name="T53" fmla="*/ 66 h 126"/>
                <a:gd name="T54" fmla="*/ 513 w 106"/>
                <a:gd name="T55" fmla="*/ 74 h 126"/>
                <a:gd name="T56" fmla="*/ 344 w 106"/>
                <a:gd name="T57" fmla="*/ 83 h 126"/>
                <a:gd name="T58" fmla="*/ 513 w 106"/>
                <a:gd name="T59" fmla="*/ 115 h 126"/>
                <a:gd name="T60" fmla="*/ 560 w 106"/>
                <a:gd name="T61" fmla="*/ 131 h 126"/>
                <a:gd name="T62" fmla="*/ 577 w 106"/>
                <a:gd name="T63" fmla="*/ 140 h 126"/>
                <a:gd name="T64" fmla="*/ 513 w 106"/>
                <a:gd name="T65" fmla="*/ 144 h 126"/>
                <a:gd name="T66" fmla="*/ 462 w 106"/>
                <a:gd name="T67" fmla="*/ 150 h 126"/>
                <a:gd name="T68" fmla="*/ 421 w 106"/>
                <a:gd name="T69" fmla="*/ 140 h 126"/>
                <a:gd name="T70" fmla="*/ 310 w 106"/>
                <a:gd name="T71" fmla="*/ 115 h 126"/>
                <a:gd name="T72" fmla="*/ 310 w 106"/>
                <a:gd name="T73" fmla="*/ 94 h 126"/>
                <a:gd name="T74" fmla="*/ 215 w 106"/>
                <a:gd name="T75" fmla="*/ 105 h 126"/>
                <a:gd name="T76" fmla="*/ 215 w 106"/>
                <a:gd name="T77" fmla="*/ 131 h 126"/>
                <a:gd name="T78" fmla="*/ 215 w 106"/>
                <a:gd name="T79" fmla="*/ 155 h 126"/>
                <a:gd name="T80" fmla="*/ 189 w 106"/>
                <a:gd name="T81" fmla="*/ 165 h 12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6"/>
                <a:gd name="T124" fmla="*/ 0 h 126"/>
                <a:gd name="T125" fmla="*/ 106 w 106"/>
                <a:gd name="T126" fmla="*/ 126 h 12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6" h="126">
                  <a:moveTo>
                    <a:pt x="20" y="126"/>
                  </a:moveTo>
                  <a:lnTo>
                    <a:pt x="11" y="123"/>
                  </a:lnTo>
                  <a:lnTo>
                    <a:pt x="11" y="117"/>
                  </a:lnTo>
                  <a:lnTo>
                    <a:pt x="15" y="108"/>
                  </a:lnTo>
                  <a:lnTo>
                    <a:pt x="11" y="95"/>
                  </a:lnTo>
                  <a:lnTo>
                    <a:pt x="11" y="89"/>
                  </a:lnTo>
                  <a:lnTo>
                    <a:pt x="2" y="89"/>
                  </a:lnTo>
                  <a:lnTo>
                    <a:pt x="2" y="80"/>
                  </a:lnTo>
                  <a:lnTo>
                    <a:pt x="0" y="78"/>
                  </a:lnTo>
                  <a:lnTo>
                    <a:pt x="7" y="74"/>
                  </a:lnTo>
                  <a:lnTo>
                    <a:pt x="9" y="69"/>
                  </a:lnTo>
                  <a:lnTo>
                    <a:pt x="11" y="63"/>
                  </a:lnTo>
                  <a:lnTo>
                    <a:pt x="9" y="54"/>
                  </a:lnTo>
                  <a:lnTo>
                    <a:pt x="11" y="46"/>
                  </a:lnTo>
                  <a:lnTo>
                    <a:pt x="20" y="44"/>
                  </a:lnTo>
                  <a:lnTo>
                    <a:pt x="22" y="31"/>
                  </a:lnTo>
                  <a:lnTo>
                    <a:pt x="22" y="28"/>
                  </a:lnTo>
                  <a:lnTo>
                    <a:pt x="24" y="15"/>
                  </a:lnTo>
                  <a:lnTo>
                    <a:pt x="26" y="13"/>
                  </a:lnTo>
                  <a:lnTo>
                    <a:pt x="30" y="20"/>
                  </a:lnTo>
                  <a:lnTo>
                    <a:pt x="35" y="15"/>
                  </a:lnTo>
                  <a:lnTo>
                    <a:pt x="37" y="11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58" y="13"/>
                  </a:lnTo>
                  <a:lnTo>
                    <a:pt x="73" y="15"/>
                  </a:lnTo>
                  <a:lnTo>
                    <a:pt x="91" y="15"/>
                  </a:lnTo>
                  <a:lnTo>
                    <a:pt x="99" y="7"/>
                  </a:lnTo>
                  <a:lnTo>
                    <a:pt x="104" y="0"/>
                  </a:lnTo>
                  <a:lnTo>
                    <a:pt x="106" y="5"/>
                  </a:lnTo>
                  <a:lnTo>
                    <a:pt x="104" y="13"/>
                  </a:lnTo>
                  <a:lnTo>
                    <a:pt x="97" y="20"/>
                  </a:lnTo>
                  <a:lnTo>
                    <a:pt x="95" y="24"/>
                  </a:lnTo>
                  <a:lnTo>
                    <a:pt x="80" y="24"/>
                  </a:lnTo>
                  <a:lnTo>
                    <a:pt x="73" y="24"/>
                  </a:lnTo>
                  <a:lnTo>
                    <a:pt x="58" y="24"/>
                  </a:lnTo>
                  <a:lnTo>
                    <a:pt x="50" y="22"/>
                  </a:lnTo>
                  <a:lnTo>
                    <a:pt x="41" y="22"/>
                  </a:lnTo>
                  <a:lnTo>
                    <a:pt x="35" y="22"/>
                  </a:lnTo>
                  <a:lnTo>
                    <a:pt x="26" y="22"/>
                  </a:lnTo>
                  <a:lnTo>
                    <a:pt x="24" y="31"/>
                  </a:lnTo>
                  <a:lnTo>
                    <a:pt x="24" y="44"/>
                  </a:lnTo>
                  <a:lnTo>
                    <a:pt x="30" y="46"/>
                  </a:lnTo>
                  <a:lnTo>
                    <a:pt x="35" y="54"/>
                  </a:lnTo>
                  <a:lnTo>
                    <a:pt x="39" y="54"/>
                  </a:lnTo>
                  <a:lnTo>
                    <a:pt x="45" y="44"/>
                  </a:lnTo>
                  <a:lnTo>
                    <a:pt x="52" y="46"/>
                  </a:lnTo>
                  <a:lnTo>
                    <a:pt x="54" y="46"/>
                  </a:lnTo>
                  <a:lnTo>
                    <a:pt x="58" y="44"/>
                  </a:lnTo>
                  <a:lnTo>
                    <a:pt x="67" y="44"/>
                  </a:lnTo>
                  <a:lnTo>
                    <a:pt x="69" y="39"/>
                  </a:lnTo>
                  <a:lnTo>
                    <a:pt x="73" y="39"/>
                  </a:lnTo>
                  <a:lnTo>
                    <a:pt x="80" y="44"/>
                  </a:lnTo>
                  <a:lnTo>
                    <a:pt x="76" y="46"/>
                  </a:lnTo>
                  <a:lnTo>
                    <a:pt x="69" y="46"/>
                  </a:lnTo>
                  <a:lnTo>
                    <a:pt x="61" y="54"/>
                  </a:lnTo>
                  <a:lnTo>
                    <a:pt x="50" y="63"/>
                  </a:lnTo>
                  <a:lnTo>
                    <a:pt x="41" y="63"/>
                  </a:lnTo>
                  <a:lnTo>
                    <a:pt x="61" y="80"/>
                  </a:lnTo>
                  <a:lnTo>
                    <a:pt x="61" y="85"/>
                  </a:lnTo>
                  <a:lnTo>
                    <a:pt x="58" y="93"/>
                  </a:lnTo>
                  <a:lnTo>
                    <a:pt x="65" y="93"/>
                  </a:lnTo>
                  <a:lnTo>
                    <a:pt x="65" y="100"/>
                  </a:lnTo>
                  <a:lnTo>
                    <a:pt x="69" y="100"/>
                  </a:lnTo>
                  <a:lnTo>
                    <a:pt x="69" y="104"/>
                  </a:lnTo>
                  <a:lnTo>
                    <a:pt x="61" y="104"/>
                  </a:lnTo>
                  <a:lnTo>
                    <a:pt x="54" y="108"/>
                  </a:lnTo>
                  <a:lnTo>
                    <a:pt x="54" y="110"/>
                  </a:lnTo>
                  <a:lnTo>
                    <a:pt x="45" y="110"/>
                  </a:lnTo>
                  <a:lnTo>
                    <a:pt x="50" y="100"/>
                  </a:lnTo>
                  <a:lnTo>
                    <a:pt x="37" y="89"/>
                  </a:lnTo>
                  <a:lnTo>
                    <a:pt x="37" y="85"/>
                  </a:lnTo>
                  <a:lnTo>
                    <a:pt x="39" y="80"/>
                  </a:lnTo>
                  <a:lnTo>
                    <a:pt x="37" y="74"/>
                  </a:lnTo>
                  <a:lnTo>
                    <a:pt x="35" y="78"/>
                  </a:lnTo>
                  <a:lnTo>
                    <a:pt x="26" y="80"/>
                  </a:lnTo>
                  <a:lnTo>
                    <a:pt x="26" y="85"/>
                  </a:lnTo>
                  <a:lnTo>
                    <a:pt x="26" y="93"/>
                  </a:lnTo>
                  <a:lnTo>
                    <a:pt x="26" y="104"/>
                  </a:lnTo>
                  <a:lnTo>
                    <a:pt x="26" y="115"/>
                  </a:lnTo>
                  <a:lnTo>
                    <a:pt x="26" y="126"/>
                  </a:lnTo>
                  <a:lnTo>
                    <a:pt x="22" y="123"/>
                  </a:lnTo>
                  <a:lnTo>
                    <a:pt x="20" y="126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7" name="Freeform 90"/>
            <p:cNvSpPr>
              <a:spLocks noChangeAspect="1"/>
            </p:cNvSpPr>
            <p:nvPr/>
          </p:nvSpPr>
          <p:spPr bwMode="auto">
            <a:xfrm>
              <a:off x="4502" y="2796"/>
              <a:ext cx="166" cy="51"/>
            </a:xfrm>
            <a:custGeom>
              <a:avLst/>
              <a:gdLst>
                <a:gd name="T0" fmla="*/ 1165 w 151"/>
                <a:gd name="T1" fmla="*/ 70 h 50"/>
                <a:gd name="T2" fmla="*/ 1089 w 151"/>
                <a:gd name="T3" fmla="*/ 65 h 50"/>
                <a:gd name="T4" fmla="*/ 991 w 151"/>
                <a:gd name="T5" fmla="*/ 59 h 50"/>
                <a:gd name="T6" fmla="*/ 938 w 151"/>
                <a:gd name="T7" fmla="*/ 63 h 50"/>
                <a:gd name="T8" fmla="*/ 867 w 151"/>
                <a:gd name="T9" fmla="*/ 59 h 50"/>
                <a:gd name="T10" fmla="*/ 796 w 151"/>
                <a:gd name="T11" fmla="*/ 59 h 50"/>
                <a:gd name="T12" fmla="*/ 718 w 151"/>
                <a:gd name="T13" fmla="*/ 59 h 50"/>
                <a:gd name="T14" fmla="*/ 645 w 151"/>
                <a:gd name="T15" fmla="*/ 54 h 50"/>
                <a:gd name="T16" fmla="*/ 502 w 151"/>
                <a:gd name="T17" fmla="*/ 48 h 50"/>
                <a:gd name="T18" fmla="*/ 406 w 151"/>
                <a:gd name="T19" fmla="*/ 50 h 50"/>
                <a:gd name="T20" fmla="*/ 292 w 151"/>
                <a:gd name="T21" fmla="*/ 24 h 50"/>
                <a:gd name="T22" fmla="*/ 148 w 151"/>
                <a:gd name="T23" fmla="*/ 21 h 50"/>
                <a:gd name="T24" fmla="*/ 163 w 151"/>
                <a:gd name="T25" fmla="*/ 19 h 50"/>
                <a:gd name="T26" fmla="*/ 62 w 151"/>
                <a:gd name="T27" fmla="*/ 15 h 50"/>
                <a:gd name="T28" fmla="*/ 0 w 151"/>
                <a:gd name="T29" fmla="*/ 13 h 50"/>
                <a:gd name="T30" fmla="*/ 4 w 151"/>
                <a:gd name="T31" fmla="*/ 13 h 50"/>
                <a:gd name="T32" fmla="*/ 42 w 151"/>
                <a:gd name="T33" fmla="*/ 13 h 50"/>
                <a:gd name="T34" fmla="*/ 99 w 151"/>
                <a:gd name="T35" fmla="*/ 6 h 50"/>
                <a:gd name="T36" fmla="*/ 123 w 151"/>
                <a:gd name="T37" fmla="*/ 0 h 50"/>
                <a:gd name="T38" fmla="*/ 255 w 151"/>
                <a:gd name="T39" fmla="*/ 4 h 50"/>
                <a:gd name="T40" fmla="*/ 255 w 151"/>
                <a:gd name="T41" fmla="*/ 0 h 50"/>
                <a:gd name="T42" fmla="*/ 292 w 151"/>
                <a:gd name="T43" fmla="*/ 0 h 50"/>
                <a:gd name="T44" fmla="*/ 336 w 151"/>
                <a:gd name="T45" fmla="*/ 4 h 50"/>
                <a:gd name="T46" fmla="*/ 369 w 151"/>
                <a:gd name="T47" fmla="*/ 6 h 50"/>
                <a:gd name="T48" fmla="*/ 406 w 151"/>
                <a:gd name="T49" fmla="*/ 4 h 50"/>
                <a:gd name="T50" fmla="*/ 427 w 151"/>
                <a:gd name="T51" fmla="*/ 13 h 50"/>
                <a:gd name="T52" fmla="*/ 618 w 151"/>
                <a:gd name="T53" fmla="*/ 15 h 50"/>
                <a:gd name="T54" fmla="*/ 665 w 151"/>
                <a:gd name="T55" fmla="*/ 15 h 50"/>
                <a:gd name="T56" fmla="*/ 682 w 151"/>
                <a:gd name="T57" fmla="*/ 9 h 50"/>
                <a:gd name="T58" fmla="*/ 750 w 151"/>
                <a:gd name="T59" fmla="*/ 9 h 50"/>
                <a:gd name="T60" fmla="*/ 750 w 151"/>
                <a:gd name="T61" fmla="*/ 13 h 50"/>
                <a:gd name="T62" fmla="*/ 788 w 151"/>
                <a:gd name="T63" fmla="*/ 13 h 50"/>
                <a:gd name="T64" fmla="*/ 867 w 151"/>
                <a:gd name="T65" fmla="*/ 13 h 50"/>
                <a:gd name="T66" fmla="*/ 901 w 151"/>
                <a:gd name="T67" fmla="*/ 15 h 50"/>
                <a:gd name="T68" fmla="*/ 953 w 151"/>
                <a:gd name="T69" fmla="*/ 24 h 50"/>
                <a:gd name="T70" fmla="*/ 1009 w 151"/>
                <a:gd name="T71" fmla="*/ 50 h 50"/>
                <a:gd name="T72" fmla="*/ 1058 w 151"/>
                <a:gd name="T73" fmla="*/ 48 h 50"/>
                <a:gd name="T74" fmla="*/ 1096 w 151"/>
                <a:gd name="T75" fmla="*/ 48 h 50"/>
                <a:gd name="T76" fmla="*/ 1165 w 151"/>
                <a:gd name="T77" fmla="*/ 50 h 50"/>
                <a:gd name="T78" fmla="*/ 1148 w 151"/>
                <a:gd name="T79" fmla="*/ 54 h 50"/>
                <a:gd name="T80" fmla="*/ 1148 w 151"/>
                <a:gd name="T81" fmla="*/ 59 h 50"/>
                <a:gd name="T82" fmla="*/ 1165 w 151"/>
                <a:gd name="T83" fmla="*/ 65 h 50"/>
                <a:gd name="T84" fmla="*/ 1165 w 151"/>
                <a:gd name="T85" fmla="*/ 70 h 5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1"/>
                <a:gd name="T130" fmla="*/ 0 h 50"/>
                <a:gd name="T131" fmla="*/ 151 w 151"/>
                <a:gd name="T132" fmla="*/ 50 h 5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1" h="50">
                  <a:moveTo>
                    <a:pt x="151" y="50"/>
                  </a:moveTo>
                  <a:lnTo>
                    <a:pt x="140" y="45"/>
                  </a:lnTo>
                  <a:lnTo>
                    <a:pt x="127" y="39"/>
                  </a:lnTo>
                  <a:lnTo>
                    <a:pt x="121" y="43"/>
                  </a:lnTo>
                  <a:lnTo>
                    <a:pt x="112" y="39"/>
                  </a:lnTo>
                  <a:lnTo>
                    <a:pt x="103" y="39"/>
                  </a:lnTo>
                  <a:lnTo>
                    <a:pt x="93" y="39"/>
                  </a:lnTo>
                  <a:lnTo>
                    <a:pt x="82" y="34"/>
                  </a:lnTo>
                  <a:lnTo>
                    <a:pt x="65" y="28"/>
                  </a:lnTo>
                  <a:lnTo>
                    <a:pt x="52" y="30"/>
                  </a:lnTo>
                  <a:lnTo>
                    <a:pt x="39" y="24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8" y="15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13" y="6"/>
                  </a:lnTo>
                  <a:lnTo>
                    <a:pt x="17" y="0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9" y="0"/>
                  </a:lnTo>
                  <a:lnTo>
                    <a:pt x="43" y="4"/>
                  </a:lnTo>
                  <a:lnTo>
                    <a:pt x="47" y="6"/>
                  </a:lnTo>
                  <a:lnTo>
                    <a:pt x="52" y="4"/>
                  </a:lnTo>
                  <a:lnTo>
                    <a:pt x="56" y="13"/>
                  </a:lnTo>
                  <a:lnTo>
                    <a:pt x="80" y="15"/>
                  </a:lnTo>
                  <a:lnTo>
                    <a:pt x="86" y="15"/>
                  </a:lnTo>
                  <a:lnTo>
                    <a:pt x="88" y="9"/>
                  </a:lnTo>
                  <a:lnTo>
                    <a:pt x="97" y="9"/>
                  </a:lnTo>
                  <a:lnTo>
                    <a:pt x="97" y="13"/>
                  </a:lnTo>
                  <a:lnTo>
                    <a:pt x="101" y="13"/>
                  </a:lnTo>
                  <a:lnTo>
                    <a:pt x="112" y="13"/>
                  </a:lnTo>
                  <a:lnTo>
                    <a:pt x="116" y="15"/>
                  </a:lnTo>
                  <a:lnTo>
                    <a:pt x="123" y="24"/>
                  </a:lnTo>
                  <a:lnTo>
                    <a:pt x="131" y="30"/>
                  </a:lnTo>
                  <a:lnTo>
                    <a:pt x="136" y="28"/>
                  </a:lnTo>
                  <a:lnTo>
                    <a:pt x="142" y="28"/>
                  </a:lnTo>
                  <a:lnTo>
                    <a:pt x="151" y="30"/>
                  </a:lnTo>
                  <a:lnTo>
                    <a:pt x="147" y="34"/>
                  </a:lnTo>
                  <a:lnTo>
                    <a:pt x="147" y="39"/>
                  </a:lnTo>
                  <a:lnTo>
                    <a:pt x="151" y="45"/>
                  </a:lnTo>
                  <a:lnTo>
                    <a:pt x="151" y="50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8" name="Freeform 91"/>
            <p:cNvSpPr>
              <a:spLocks noChangeAspect="1"/>
            </p:cNvSpPr>
            <p:nvPr/>
          </p:nvSpPr>
          <p:spPr bwMode="auto">
            <a:xfrm>
              <a:off x="4827" y="2840"/>
              <a:ext cx="72" cy="35"/>
            </a:xfrm>
            <a:custGeom>
              <a:avLst/>
              <a:gdLst>
                <a:gd name="T0" fmla="*/ 83 w 65"/>
                <a:gd name="T1" fmla="*/ 35 h 35"/>
                <a:gd name="T2" fmla="*/ 0 w 65"/>
                <a:gd name="T3" fmla="*/ 35 h 35"/>
                <a:gd name="T4" fmla="*/ 3 w 65"/>
                <a:gd name="T5" fmla="*/ 26 h 35"/>
                <a:gd name="T6" fmla="*/ 68 w 65"/>
                <a:gd name="T7" fmla="*/ 22 h 35"/>
                <a:gd name="T8" fmla="*/ 146 w 65"/>
                <a:gd name="T9" fmla="*/ 15 h 35"/>
                <a:gd name="T10" fmla="*/ 243 w 65"/>
                <a:gd name="T11" fmla="*/ 11 h 35"/>
                <a:gd name="T12" fmla="*/ 281 w 65"/>
                <a:gd name="T13" fmla="*/ 7 h 35"/>
                <a:gd name="T14" fmla="*/ 422 w 65"/>
                <a:gd name="T15" fmla="*/ 0 h 35"/>
                <a:gd name="T16" fmla="*/ 595 w 65"/>
                <a:gd name="T17" fmla="*/ 0 h 35"/>
                <a:gd name="T18" fmla="*/ 517 w 65"/>
                <a:gd name="T19" fmla="*/ 7 h 35"/>
                <a:gd name="T20" fmla="*/ 497 w 65"/>
                <a:gd name="T21" fmla="*/ 7 h 35"/>
                <a:gd name="T22" fmla="*/ 438 w 65"/>
                <a:gd name="T23" fmla="*/ 9 h 35"/>
                <a:gd name="T24" fmla="*/ 243 w 65"/>
                <a:gd name="T25" fmla="*/ 22 h 35"/>
                <a:gd name="T26" fmla="*/ 146 w 65"/>
                <a:gd name="T27" fmla="*/ 30 h 35"/>
                <a:gd name="T28" fmla="*/ 102 w 65"/>
                <a:gd name="T29" fmla="*/ 30 h 35"/>
                <a:gd name="T30" fmla="*/ 83 w 65"/>
                <a:gd name="T31" fmla="*/ 35 h 3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5"/>
                <a:gd name="T49" fmla="*/ 0 h 35"/>
                <a:gd name="T50" fmla="*/ 65 w 65"/>
                <a:gd name="T51" fmla="*/ 35 h 3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5" h="35">
                  <a:moveTo>
                    <a:pt x="9" y="35"/>
                  </a:moveTo>
                  <a:lnTo>
                    <a:pt x="0" y="35"/>
                  </a:lnTo>
                  <a:lnTo>
                    <a:pt x="3" y="26"/>
                  </a:lnTo>
                  <a:lnTo>
                    <a:pt x="7" y="22"/>
                  </a:lnTo>
                  <a:lnTo>
                    <a:pt x="16" y="15"/>
                  </a:lnTo>
                  <a:lnTo>
                    <a:pt x="26" y="11"/>
                  </a:lnTo>
                  <a:lnTo>
                    <a:pt x="31" y="7"/>
                  </a:lnTo>
                  <a:lnTo>
                    <a:pt x="46" y="0"/>
                  </a:lnTo>
                  <a:lnTo>
                    <a:pt x="65" y="0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48" y="9"/>
                  </a:lnTo>
                  <a:lnTo>
                    <a:pt x="26" y="22"/>
                  </a:lnTo>
                  <a:lnTo>
                    <a:pt x="16" y="30"/>
                  </a:lnTo>
                  <a:lnTo>
                    <a:pt x="11" y="30"/>
                  </a:lnTo>
                  <a:lnTo>
                    <a:pt x="9" y="35"/>
                  </a:lnTo>
                  <a:close/>
                </a:path>
              </a:pathLst>
            </a:custGeom>
            <a:solidFill>
              <a:srgbClr val="0070C0"/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99" name="Freeform 92"/>
            <p:cNvSpPr>
              <a:spLocks noChangeAspect="1"/>
            </p:cNvSpPr>
            <p:nvPr/>
          </p:nvSpPr>
          <p:spPr bwMode="auto">
            <a:xfrm>
              <a:off x="4904" y="2658"/>
              <a:ext cx="27" cy="53"/>
            </a:xfrm>
            <a:custGeom>
              <a:avLst/>
              <a:gdLst>
                <a:gd name="T0" fmla="*/ 53 w 25"/>
                <a:gd name="T1" fmla="*/ 72 h 52"/>
                <a:gd name="T2" fmla="*/ 6 w 25"/>
                <a:gd name="T3" fmla="*/ 63 h 52"/>
                <a:gd name="T4" fmla="*/ 2 w 25"/>
                <a:gd name="T5" fmla="*/ 54 h 52"/>
                <a:gd name="T6" fmla="*/ 2 w 25"/>
                <a:gd name="T7" fmla="*/ 50 h 52"/>
                <a:gd name="T8" fmla="*/ 0 w 25"/>
                <a:gd name="T9" fmla="*/ 24 h 52"/>
                <a:gd name="T10" fmla="*/ 0 w 25"/>
                <a:gd name="T11" fmla="*/ 19 h 52"/>
                <a:gd name="T12" fmla="*/ 2 w 25"/>
                <a:gd name="T13" fmla="*/ 9 h 52"/>
                <a:gd name="T14" fmla="*/ 53 w 25"/>
                <a:gd name="T15" fmla="*/ 0 h 52"/>
                <a:gd name="T16" fmla="*/ 6 w 25"/>
                <a:gd name="T17" fmla="*/ 4 h 52"/>
                <a:gd name="T18" fmla="*/ 53 w 25"/>
                <a:gd name="T19" fmla="*/ 15 h 52"/>
                <a:gd name="T20" fmla="*/ 2 w 25"/>
                <a:gd name="T21" fmla="*/ 19 h 52"/>
                <a:gd name="T22" fmla="*/ 6 w 25"/>
                <a:gd name="T23" fmla="*/ 21 h 52"/>
                <a:gd name="T24" fmla="*/ 53 w 25"/>
                <a:gd name="T25" fmla="*/ 19 h 52"/>
                <a:gd name="T26" fmla="*/ 53 w 25"/>
                <a:gd name="T27" fmla="*/ 19 h 52"/>
                <a:gd name="T28" fmla="*/ 53 w 25"/>
                <a:gd name="T29" fmla="*/ 15 h 52"/>
                <a:gd name="T30" fmla="*/ 114 w 25"/>
                <a:gd name="T31" fmla="*/ 11 h 52"/>
                <a:gd name="T32" fmla="*/ 114 w 25"/>
                <a:gd name="T33" fmla="*/ 19 h 52"/>
                <a:gd name="T34" fmla="*/ 53 w 25"/>
                <a:gd name="T35" fmla="*/ 24 h 52"/>
                <a:gd name="T36" fmla="*/ 133 w 25"/>
                <a:gd name="T37" fmla="*/ 54 h 52"/>
                <a:gd name="T38" fmla="*/ 53 w 25"/>
                <a:gd name="T39" fmla="*/ 50 h 52"/>
                <a:gd name="T40" fmla="*/ 53 w 25"/>
                <a:gd name="T41" fmla="*/ 54 h 52"/>
                <a:gd name="T42" fmla="*/ 53 w 25"/>
                <a:gd name="T43" fmla="*/ 72 h 5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5"/>
                <a:gd name="T67" fmla="*/ 0 h 52"/>
                <a:gd name="T68" fmla="*/ 25 w 25"/>
                <a:gd name="T69" fmla="*/ 52 h 5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5" h="52">
                  <a:moveTo>
                    <a:pt x="10" y="52"/>
                  </a:moveTo>
                  <a:lnTo>
                    <a:pt x="6" y="43"/>
                  </a:lnTo>
                  <a:lnTo>
                    <a:pt x="2" y="34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9"/>
                  </a:lnTo>
                  <a:lnTo>
                    <a:pt x="10" y="0"/>
                  </a:lnTo>
                  <a:lnTo>
                    <a:pt x="6" y="4"/>
                  </a:lnTo>
                  <a:lnTo>
                    <a:pt x="10" y="15"/>
                  </a:lnTo>
                  <a:lnTo>
                    <a:pt x="2" y="19"/>
                  </a:lnTo>
                  <a:lnTo>
                    <a:pt x="6" y="21"/>
                  </a:lnTo>
                  <a:lnTo>
                    <a:pt x="10" y="19"/>
                  </a:lnTo>
                  <a:lnTo>
                    <a:pt x="10" y="15"/>
                  </a:lnTo>
                  <a:lnTo>
                    <a:pt x="21" y="11"/>
                  </a:lnTo>
                  <a:lnTo>
                    <a:pt x="21" y="19"/>
                  </a:lnTo>
                  <a:lnTo>
                    <a:pt x="10" y="24"/>
                  </a:lnTo>
                  <a:lnTo>
                    <a:pt x="25" y="34"/>
                  </a:lnTo>
                  <a:lnTo>
                    <a:pt x="10" y="30"/>
                  </a:lnTo>
                  <a:lnTo>
                    <a:pt x="10" y="34"/>
                  </a:lnTo>
                  <a:lnTo>
                    <a:pt x="10" y="52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0" name="Freeform 93"/>
            <p:cNvSpPr>
              <a:spLocks noChangeAspect="1"/>
            </p:cNvSpPr>
            <p:nvPr/>
          </p:nvSpPr>
          <p:spPr bwMode="auto">
            <a:xfrm>
              <a:off x="4911" y="2745"/>
              <a:ext cx="55" cy="15"/>
            </a:xfrm>
            <a:custGeom>
              <a:avLst/>
              <a:gdLst>
                <a:gd name="T0" fmla="*/ 389 w 50"/>
                <a:gd name="T1" fmla="*/ 15 h 15"/>
                <a:gd name="T2" fmla="*/ 278 w 50"/>
                <a:gd name="T3" fmla="*/ 9 h 15"/>
                <a:gd name="T4" fmla="*/ 216 w 50"/>
                <a:gd name="T5" fmla="*/ 5 h 15"/>
                <a:gd name="T6" fmla="*/ 216 w 50"/>
                <a:gd name="T7" fmla="*/ 9 h 15"/>
                <a:gd name="T8" fmla="*/ 150 w 50"/>
                <a:gd name="T9" fmla="*/ 9 h 15"/>
                <a:gd name="T10" fmla="*/ 150 w 50"/>
                <a:gd name="T11" fmla="*/ 5 h 15"/>
                <a:gd name="T12" fmla="*/ 84 w 50"/>
                <a:gd name="T13" fmla="*/ 9 h 15"/>
                <a:gd name="T14" fmla="*/ 43 w 50"/>
                <a:gd name="T15" fmla="*/ 5 h 15"/>
                <a:gd name="T16" fmla="*/ 4 w 50"/>
                <a:gd name="T17" fmla="*/ 9 h 15"/>
                <a:gd name="T18" fmla="*/ 0 w 50"/>
                <a:gd name="T19" fmla="*/ 5 h 15"/>
                <a:gd name="T20" fmla="*/ 43 w 50"/>
                <a:gd name="T21" fmla="*/ 0 h 15"/>
                <a:gd name="T22" fmla="*/ 150 w 50"/>
                <a:gd name="T23" fmla="*/ 0 h 15"/>
                <a:gd name="T24" fmla="*/ 190 w 50"/>
                <a:gd name="T25" fmla="*/ 0 h 15"/>
                <a:gd name="T26" fmla="*/ 216 w 50"/>
                <a:gd name="T27" fmla="*/ 0 h 15"/>
                <a:gd name="T28" fmla="*/ 278 w 50"/>
                <a:gd name="T29" fmla="*/ 0 h 15"/>
                <a:gd name="T30" fmla="*/ 306 w 50"/>
                <a:gd name="T31" fmla="*/ 0 h 15"/>
                <a:gd name="T32" fmla="*/ 354 w 50"/>
                <a:gd name="T33" fmla="*/ 5 h 15"/>
                <a:gd name="T34" fmla="*/ 389 w 50"/>
                <a:gd name="T35" fmla="*/ 9 h 15"/>
                <a:gd name="T36" fmla="*/ 389 w 50"/>
                <a:gd name="T37" fmla="*/ 1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0"/>
                <a:gd name="T58" fmla="*/ 0 h 15"/>
                <a:gd name="T59" fmla="*/ 50 w 5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0" h="15">
                  <a:moveTo>
                    <a:pt x="50" y="15"/>
                  </a:moveTo>
                  <a:lnTo>
                    <a:pt x="35" y="9"/>
                  </a:lnTo>
                  <a:lnTo>
                    <a:pt x="28" y="5"/>
                  </a:lnTo>
                  <a:lnTo>
                    <a:pt x="28" y="9"/>
                  </a:lnTo>
                  <a:lnTo>
                    <a:pt x="19" y="9"/>
                  </a:lnTo>
                  <a:lnTo>
                    <a:pt x="19" y="5"/>
                  </a:lnTo>
                  <a:lnTo>
                    <a:pt x="11" y="9"/>
                  </a:lnTo>
                  <a:lnTo>
                    <a:pt x="6" y="5"/>
                  </a:lnTo>
                  <a:lnTo>
                    <a:pt x="4" y="9"/>
                  </a:lnTo>
                  <a:lnTo>
                    <a:pt x="0" y="5"/>
                  </a:lnTo>
                  <a:lnTo>
                    <a:pt x="6" y="0"/>
                  </a:lnTo>
                  <a:lnTo>
                    <a:pt x="19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5" y="5"/>
                  </a:lnTo>
                  <a:lnTo>
                    <a:pt x="50" y="9"/>
                  </a:lnTo>
                  <a:lnTo>
                    <a:pt x="50" y="15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1" name="Freeform 94"/>
            <p:cNvSpPr>
              <a:spLocks noChangeAspect="1"/>
            </p:cNvSpPr>
            <p:nvPr/>
          </p:nvSpPr>
          <p:spPr bwMode="auto">
            <a:xfrm>
              <a:off x="4761" y="2834"/>
              <a:ext cx="62" cy="15"/>
            </a:xfrm>
            <a:custGeom>
              <a:avLst/>
              <a:gdLst>
                <a:gd name="T0" fmla="*/ 239 w 56"/>
                <a:gd name="T1" fmla="*/ 15 h 15"/>
                <a:gd name="T2" fmla="*/ 130 w 56"/>
                <a:gd name="T3" fmla="*/ 15 h 15"/>
                <a:gd name="T4" fmla="*/ 102 w 56"/>
                <a:gd name="T5" fmla="*/ 10 h 15"/>
                <a:gd name="T6" fmla="*/ 0 w 56"/>
                <a:gd name="T7" fmla="*/ 10 h 15"/>
                <a:gd name="T8" fmla="*/ 0 w 56"/>
                <a:gd name="T9" fmla="*/ 6 h 15"/>
                <a:gd name="T10" fmla="*/ 4 w 56"/>
                <a:gd name="T11" fmla="*/ 6 h 15"/>
                <a:gd name="T12" fmla="*/ 102 w 56"/>
                <a:gd name="T13" fmla="*/ 2 h 15"/>
                <a:gd name="T14" fmla="*/ 203 w 56"/>
                <a:gd name="T15" fmla="*/ 6 h 15"/>
                <a:gd name="T16" fmla="*/ 239 w 56"/>
                <a:gd name="T17" fmla="*/ 6 h 15"/>
                <a:gd name="T18" fmla="*/ 278 w 56"/>
                <a:gd name="T19" fmla="*/ 6 h 15"/>
                <a:gd name="T20" fmla="*/ 415 w 56"/>
                <a:gd name="T21" fmla="*/ 6 h 15"/>
                <a:gd name="T22" fmla="*/ 415 w 56"/>
                <a:gd name="T23" fmla="*/ 6 h 15"/>
                <a:gd name="T24" fmla="*/ 459 w 56"/>
                <a:gd name="T25" fmla="*/ 6 h 15"/>
                <a:gd name="T26" fmla="*/ 459 w 56"/>
                <a:gd name="T27" fmla="*/ 2 h 15"/>
                <a:gd name="T28" fmla="*/ 471 w 56"/>
                <a:gd name="T29" fmla="*/ 0 h 15"/>
                <a:gd name="T30" fmla="*/ 514 w 56"/>
                <a:gd name="T31" fmla="*/ 2 h 15"/>
                <a:gd name="T32" fmla="*/ 459 w 56"/>
                <a:gd name="T33" fmla="*/ 6 h 15"/>
                <a:gd name="T34" fmla="*/ 341 w 56"/>
                <a:gd name="T35" fmla="*/ 10 h 15"/>
                <a:gd name="T36" fmla="*/ 311 w 56"/>
                <a:gd name="T37" fmla="*/ 15 h 15"/>
                <a:gd name="T38" fmla="*/ 239 w 56"/>
                <a:gd name="T39" fmla="*/ 10 h 15"/>
                <a:gd name="T40" fmla="*/ 239 w 56"/>
                <a:gd name="T41" fmla="*/ 15 h 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6"/>
                <a:gd name="T64" fmla="*/ 0 h 15"/>
                <a:gd name="T65" fmla="*/ 56 w 56"/>
                <a:gd name="T66" fmla="*/ 15 h 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6" h="15">
                  <a:moveTo>
                    <a:pt x="26" y="15"/>
                  </a:moveTo>
                  <a:lnTo>
                    <a:pt x="15" y="15"/>
                  </a:lnTo>
                  <a:lnTo>
                    <a:pt x="11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2"/>
                  </a:lnTo>
                  <a:lnTo>
                    <a:pt x="22" y="6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45" y="6"/>
                  </a:lnTo>
                  <a:lnTo>
                    <a:pt x="50" y="6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56" y="2"/>
                  </a:lnTo>
                  <a:lnTo>
                    <a:pt x="50" y="6"/>
                  </a:lnTo>
                  <a:lnTo>
                    <a:pt x="37" y="10"/>
                  </a:lnTo>
                  <a:lnTo>
                    <a:pt x="35" y="15"/>
                  </a:lnTo>
                  <a:lnTo>
                    <a:pt x="26" y="10"/>
                  </a:lnTo>
                  <a:lnTo>
                    <a:pt x="26" y="15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2" name="Freeform 95"/>
            <p:cNvSpPr>
              <a:spLocks noChangeAspect="1"/>
            </p:cNvSpPr>
            <p:nvPr/>
          </p:nvSpPr>
          <p:spPr bwMode="auto">
            <a:xfrm>
              <a:off x="4710" y="2834"/>
              <a:ext cx="41" cy="15"/>
            </a:xfrm>
            <a:custGeom>
              <a:avLst/>
              <a:gdLst>
                <a:gd name="T0" fmla="*/ 0 w 38"/>
                <a:gd name="T1" fmla="*/ 15 h 15"/>
                <a:gd name="T2" fmla="*/ 0 w 38"/>
                <a:gd name="T3" fmla="*/ 6 h 15"/>
                <a:gd name="T4" fmla="*/ 4 w 38"/>
                <a:gd name="T5" fmla="*/ 6 h 15"/>
                <a:gd name="T6" fmla="*/ 66 w 38"/>
                <a:gd name="T7" fmla="*/ 6 h 15"/>
                <a:gd name="T8" fmla="*/ 77 w 38"/>
                <a:gd name="T9" fmla="*/ 6 h 15"/>
                <a:gd name="T10" fmla="*/ 90 w 38"/>
                <a:gd name="T11" fmla="*/ 6 h 15"/>
                <a:gd name="T12" fmla="*/ 105 w 38"/>
                <a:gd name="T13" fmla="*/ 6 h 15"/>
                <a:gd name="T14" fmla="*/ 77 w 38"/>
                <a:gd name="T15" fmla="*/ 2 h 15"/>
                <a:gd name="T16" fmla="*/ 105 w 38"/>
                <a:gd name="T17" fmla="*/ 0 h 15"/>
                <a:gd name="T18" fmla="*/ 122 w 38"/>
                <a:gd name="T19" fmla="*/ 2 h 15"/>
                <a:gd name="T20" fmla="*/ 147 w 38"/>
                <a:gd name="T21" fmla="*/ 2 h 15"/>
                <a:gd name="T22" fmla="*/ 172 w 38"/>
                <a:gd name="T23" fmla="*/ 6 h 15"/>
                <a:gd name="T24" fmla="*/ 181 w 38"/>
                <a:gd name="T25" fmla="*/ 2 h 15"/>
                <a:gd name="T26" fmla="*/ 201 w 38"/>
                <a:gd name="T27" fmla="*/ 10 h 15"/>
                <a:gd name="T28" fmla="*/ 147 w 38"/>
                <a:gd name="T29" fmla="*/ 10 h 15"/>
                <a:gd name="T30" fmla="*/ 147 w 38"/>
                <a:gd name="T31" fmla="*/ 6 h 15"/>
                <a:gd name="T32" fmla="*/ 122 w 38"/>
                <a:gd name="T33" fmla="*/ 6 h 15"/>
                <a:gd name="T34" fmla="*/ 105 w 38"/>
                <a:gd name="T35" fmla="*/ 15 h 15"/>
                <a:gd name="T36" fmla="*/ 77 w 38"/>
                <a:gd name="T37" fmla="*/ 15 h 15"/>
                <a:gd name="T38" fmla="*/ 0 w 38"/>
                <a:gd name="T39" fmla="*/ 15 h 1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8"/>
                <a:gd name="T61" fmla="*/ 0 h 15"/>
                <a:gd name="T62" fmla="*/ 38 w 38"/>
                <a:gd name="T63" fmla="*/ 15 h 1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8" h="15">
                  <a:moveTo>
                    <a:pt x="0" y="15"/>
                  </a:move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5" y="2"/>
                  </a:lnTo>
                  <a:lnTo>
                    <a:pt x="19" y="0"/>
                  </a:lnTo>
                  <a:lnTo>
                    <a:pt x="23" y="2"/>
                  </a:lnTo>
                  <a:lnTo>
                    <a:pt x="28" y="2"/>
                  </a:lnTo>
                  <a:lnTo>
                    <a:pt x="32" y="6"/>
                  </a:lnTo>
                  <a:lnTo>
                    <a:pt x="34" y="2"/>
                  </a:lnTo>
                  <a:lnTo>
                    <a:pt x="38" y="10"/>
                  </a:lnTo>
                  <a:lnTo>
                    <a:pt x="28" y="10"/>
                  </a:lnTo>
                  <a:lnTo>
                    <a:pt x="28" y="6"/>
                  </a:lnTo>
                  <a:lnTo>
                    <a:pt x="23" y="6"/>
                  </a:lnTo>
                  <a:lnTo>
                    <a:pt x="19" y="15"/>
                  </a:lnTo>
                  <a:lnTo>
                    <a:pt x="15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3" name="Freeform 96"/>
            <p:cNvSpPr>
              <a:spLocks noChangeAspect="1"/>
            </p:cNvSpPr>
            <p:nvPr/>
          </p:nvSpPr>
          <p:spPr bwMode="auto">
            <a:xfrm>
              <a:off x="4502" y="2719"/>
              <a:ext cx="31" cy="26"/>
            </a:xfrm>
            <a:custGeom>
              <a:avLst/>
              <a:gdLst>
                <a:gd name="T0" fmla="*/ 249 w 28"/>
                <a:gd name="T1" fmla="*/ 26 h 26"/>
                <a:gd name="T2" fmla="*/ 144 w 28"/>
                <a:gd name="T3" fmla="*/ 24 h 26"/>
                <a:gd name="T4" fmla="*/ 117 w 28"/>
                <a:gd name="T5" fmla="*/ 15 h 26"/>
                <a:gd name="T6" fmla="*/ 50 w 28"/>
                <a:gd name="T7" fmla="*/ 9 h 26"/>
                <a:gd name="T8" fmla="*/ 0 w 28"/>
                <a:gd name="T9" fmla="*/ 9 h 26"/>
                <a:gd name="T10" fmla="*/ 50 w 28"/>
                <a:gd name="T11" fmla="*/ 9 h 26"/>
                <a:gd name="T12" fmla="*/ 50 w 28"/>
                <a:gd name="T13" fmla="*/ 0 h 26"/>
                <a:gd name="T14" fmla="*/ 75 w 28"/>
                <a:gd name="T15" fmla="*/ 0 h 26"/>
                <a:gd name="T16" fmla="*/ 75 w 28"/>
                <a:gd name="T17" fmla="*/ 5 h 26"/>
                <a:gd name="T18" fmla="*/ 117 w 28"/>
                <a:gd name="T19" fmla="*/ 5 h 26"/>
                <a:gd name="T20" fmla="*/ 117 w 28"/>
                <a:gd name="T21" fmla="*/ 0 h 26"/>
                <a:gd name="T22" fmla="*/ 144 w 28"/>
                <a:gd name="T23" fmla="*/ 0 h 26"/>
                <a:gd name="T24" fmla="*/ 159 w 28"/>
                <a:gd name="T25" fmla="*/ 5 h 26"/>
                <a:gd name="T26" fmla="*/ 159 w 28"/>
                <a:gd name="T27" fmla="*/ 15 h 26"/>
                <a:gd name="T28" fmla="*/ 249 w 28"/>
                <a:gd name="T29" fmla="*/ 20 h 26"/>
                <a:gd name="T30" fmla="*/ 216 w 28"/>
                <a:gd name="T31" fmla="*/ 24 h 26"/>
                <a:gd name="T32" fmla="*/ 249 w 28"/>
                <a:gd name="T33" fmla="*/ 26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8"/>
                <a:gd name="T52" fmla="*/ 0 h 26"/>
                <a:gd name="T53" fmla="*/ 28 w 28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8" h="26">
                  <a:moveTo>
                    <a:pt x="28" y="26"/>
                  </a:moveTo>
                  <a:lnTo>
                    <a:pt x="17" y="24"/>
                  </a:lnTo>
                  <a:lnTo>
                    <a:pt x="13" y="15"/>
                  </a:lnTo>
                  <a:lnTo>
                    <a:pt x="6" y="9"/>
                  </a:lnTo>
                  <a:lnTo>
                    <a:pt x="0" y="9"/>
                  </a:lnTo>
                  <a:lnTo>
                    <a:pt x="6" y="9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5"/>
                  </a:lnTo>
                  <a:lnTo>
                    <a:pt x="13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9" y="5"/>
                  </a:lnTo>
                  <a:lnTo>
                    <a:pt x="19" y="15"/>
                  </a:lnTo>
                  <a:lnTo>
                    <a:pt x="28" y="20"/>
                  </a:lnTo>
                  <a:lnTo>
                    <a:pt x="24" y="24"/>
                  </a:lnTo>
                  <a:lnTo>
                    <a:pt x="28" y="26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4" name="Freeform 97"/>
            <p:cNvSpPr>
              <a:spLocks noChangeAspect="1"/>
            </p:cNvSpPr>
            <p:nvPr/>
          </p:nvSpPr>
          <p:spPr bwMode="auto">
            <a:xfrm>
              <a:off x="5082" y="2824"/>
              <a:ext cx="26" cy="18"/>
            </a:xfrm>
            <a:custGeom>
              <a:avLst/>
              <a:gdLst>
                <a:gd name="T0" fmla="*/ 0 w 24"/>
                <a:gd name="T1" fmla="*/ 50 h 17"/>
                <a:gd name="T2" fmla="*/ 52 w 24"/>
                <a:gd name="T3" fmla="*/ 6 h 17"/>
                <a:gd name="T4" fmla="*/ 117 w 24"/>
                <a:gd name="T5" fmla="*/ 0 h 17"/>
                <a:gd name="T6" fmla="*/ 138 w 24"/>
                <a:gd name="T7" fmla="*/ 2 h 17"/>
                <a:gd name="T8" fmla="*/ 138 w 24"/>
                <a:gd name="T9" fmla="*/ 32 h 17"/>
                <a:gd name="T10" fmla="*/ 108 w 24"/>
                <a:gd name="T11" fmla="*/ 44 h 17"/>
                <a:gd name="T12" fmla="*/ 0 w 24"/>
                <a:gd name="T13" fmla="*/ 50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17"/>
                <a:gd name="T23" fmla="*/ 24 w 24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17">
                  <a:moveTo>
                    <a:pt x="0" y="17"/>
                  </a:moveTo>
                  <a:lnTo>
                    <a:pt x="9" y="6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4" y="9"/>
                  </a:lnTo>
                  <a:lnTo>
                    <a:pt x="18" y="15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5" name="Freeform 98"/>
            <p:cNvSpPr>
              <a:spLocks noChangeAspect="1"/>
            </p:cNvSpPr>
            <p:nvPr/>
          </p:nvSpPr>
          <p:spPr bwMode="auto">
            <a:xfrm>
              <a:off x="4746" y="2855"/>
              <a:ext cx="34" cy="20"/>
            </a:xfrm>
            <a:custGeom>
              <a:avLst/>
              <a:gdLst>
                <a:gd name="T0" fmla="*/ 348 w 30"/>
                <a:gd name="T1" fmla="*/ 20 h 20"/>
                <a:gd name="T2" fmla="*/ 263 w 30"/>
                <a:gd name="T3" fmla="*/ 11 h 20"/>
                <a:gd name="T4" fmla="*/ 128 w 30"/>
                <a:gd name="T5" fmla="*/ 7 h 20"/>
                <a:gd name="T6" fmla="*/ 0 w 30"/>
                <a:gd name="T7" fmla="*/ 7 h 20"/>
                <a:gd name="T8" fmla="*/ 0 w 30"/>
                <a:gd name="T9" fmla="*/ 2 h 20"/>
                <a:gd name="T10" fmla="*/ 161 w 30"/>
                <a:gd name="T11" fmla="*/ 2 h 20"/>
                <a:gd name="T12" fmla="*/ 263 w 30"/>
                <a:gd name="T13" fmla="*/ 0 h 20"/>
                <a:gd name="T14" fmla="*/ 298 w 30"/>
                <a:gd name="T15" fmla="*/ 7 h 20"/>
                <a:gd name="T16" fmla="*/ 384 w 30"/>
                <a:gd name="T17" fmla="*/ 7 h 20"/>
                <a:gd name="T18" fmla="*/ 435 w 30"/>
                <a:gd name="T19" fmla="*/ 11 h 20"/>
                <a:gd name="T20" fmla="*/ 384 w 30"/>
                <a:gd name="T21" fmla="*/ 15 h 20"/>
                <a:gd name="T22" fmla="*/ 348 w 30"/>
                <a:gd name="T23" fmla="*/ 20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0"/>
                <a:gd name="T37" fmla="*/ 0 h 20"/>
                <a:gd name="T38" fmla="*/ 30 w 30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0" h="20">
                  <a:moveTo>
                    <a:pt x="24" y="20"/>
                  </a:moveTo>
                  <a:lnTo>
                    <a:pt x="17" y="11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2"/>
                  </a:lnTo>
                  <a:lnTo>
                    <a:pt x="11" y="2"/>
                  </a:lnTo>
                  <a:lnTo>
                    <a:pt x="17" y="0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30" y="11"/>
                  </a:lnTo>
                  <a:lnTo>
                    <a:pt x="26" y="15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0070C0"/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6" name="Freeform 99"/>
            <p:cNvSpPr>
              <a:spLocks noChangeAspect="1"/>
            </p:cNvSpPr>
            <p:nvPr/>
          </p:nvSpPr>
          <p:spPr bwMode="auto">
            <a:xfrm>
              <a:off x="4880" y="2750"/>
              <a:ext cx="21" cy="10"/>
            </a:xfrm>
            <a:custGeom>
              <a:avLst/>
              <a:gdLst>
                <a:gd name="T0" fmla="*/ 76 w 19"/>
                <a:gd name="T1" fmla="*/ 10 h 10"/>
                <a:gd name="T2" fmla="*/ 0 w 19"/>
                <a:gd name="T3" fmla="*/ 2 h 10"/>
                <a:gd name="T4" fmla="*/ 0 w 19"/>
                <a:gd name="T5" fmla="*/ 0 h 10"/>
                <a:gd name="T6" fmla="*/ 154 w 19"/>
                <a:gd name="T7" fmla="*/ 0 h 10"/>
                <a:gd name="T8" fmla="*/ 170 w 19"/>
                <a:gd name="T9" fmla="*/ 8 h 10"/>
                <a:gd name="T10" fmla="*/ 76 w 19"/>
                <a:gd name="T11" fmla="*/ 1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0"/>
                <a:gd name="T20" fmla="*/ 19 w 19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0">
                  <a:moveTo>
                    <a:pt x="9" y="1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9" y="8"/>
                  </a:lnTo>
                  <a:lnTo>
                    <a:pt x="9" y="10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7" name="Freeform 100"/>
            <p:cNvSpPr>
              <a:spLocks noChangeAspect="1"/>
            </p:cNvSpPr>
            <p:nvPr/>
          </p:nvSpPr>
          <p:spPr bwMode="auto">
            <a:xfrm>
              <a:off x="4668" y="2834"/>
              <a:ext cx="23" cy="8"/>
            </a:xfrm>
            <a:custGeom>
              <a:avLst/>
              <a:gdLst>
                <a:gd name="T0" fmla="*/ 78 w 21"/>
                <a:gd name="T1" fmla="*/ 8 h 8"/>
                <a:gd name="T2" fmla="*/ 49 w 21"/>
                <a:gd name="T3" fmla="*/ 6 h 8"/>
                <a:gd name="T4" fmla="*/ 0 w 21"/>
                <a:gd name="T5" fmla="*/ 6 h 8"/>
                <a:gd name="T6" fmla="*/ 0 w 21"/>
                <a:gd name="T7" fmla="*/ 0 h 8"/>
                <a:gd name="T8" fmla="*/ 49 w 21"/>
                <a:gd name="T9" fmla="*/ 2 h 8"/>
                <a:gd name="T10" fmla="*/ 78 w 21"/>
                <a:gd name="T11" fmla="*/ 0 h 8"/>
                <a:gd name="T12" fmla="*/ 151 w 21"/>
                <a:gd name="T13" fmla="*/ 6 h 8"/>
                <a:gd name="T14" fmla="*/ 78 w 21"/>
                <a:gd name="T15" fmla="*/ 6 h 8"/>
                <a:gd name="T16" fmla="*/ 78 w 21"/>
                <a:gd name="T17" fmla="*/ 8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8"/>
                <a:gd name="T29" fmla="*/ 21 w 21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8">
                  <a:moveTo>
                    <a:pt x="11" y="8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2"/>
                  </a:lnTo>
                  <a:lnTo>
                    <a:pt x="11" y="0"/>
                  </a:lnTo>
                  <a:lnTo>
                    <a:pt x="21" y="6"/>
                  </a:lnTo>
                  <a:lnTo>
                    <a:pt x="11" y="6"/>
                  </a:lnTo>
                  <a:lnTo>
                    <a:pt x="11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8" name="Freeform 101"/>
            <p:cNvSpPr>
              <a:spLocks noChangeAspect="1"/>
            </p:cNvSpPr>
            <p:nvPr/>
          </p:nvSpPr>
          <p:spPr bwMode="auto">
            <a:xfrm>
              <a:off x="4640" y="2811"/>
              <a:ext cx="21" cy="6"/>
            </a:xfrm>
            <a:custGeom>
              <a:avLst/>
              <a:gdLst>
                <a:gd name="T0" fmla="*/ 93 w 19"/>
                <a:gd name="T1" fmla="*/ 6 h 6"/>
                <a:gd name="T2" fmla="*/ 0 w 19"/>
                <a:gd name="T3" fmla="*/ 4 h 6"/>
                <a:gd name="T4" fmla="*/ 0 w 19"/>
                <a:gd name="T5" fmla="*/ 0 h 6"/>
                <a:gd name="T6" fmla="*/ 170 w 19"/>
                <a:gd name="T7" fmla="*/ 0 h 6"/>
                <a:gd name="T8" fmla="*/ 154 w 19"/>
                <a:gd name="T9" fmla="*/ 4 h 6"/>
                <a:gd name="T10" fmla="*/ 114 w 19"/>
                <a:gd name="T11" fmla="*/ 4 h 6"/>
                <a:gd name="T12" fmla="*/ 93 w 19"/>
                <a:gd name="T13" fmla="*/ 6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"/>
                <a:gd name="T23" fmla="*/ 19 w 1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">
                  <a:moveTo>
                    <a:pt x="11" y="6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7" y="4"/>
                  </a:lnTo>
                  <a:lnTo>
                    <a:pt x="13" y="4"/>
                  </a:lnTo>
                  <a:lnTo>
                    <a:pt x="11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09" name="Freeform 102"/>
            <p:cNvSpPr>
              <a:spLocks noChangeAspect="1"/>
            </p:cNvSpPr>
            <p:nvPr/>
          </p:nvSpPr>
          <p:spPr bwMode="auto">
            <a:xfrm>
              <a:off x="4691" y="2836"/>
              <a:ext cx="13" cy="13"/>
            </a:xfrm>
            <a:custGeom>
              <a:avLst/>
              <a:gdLst>
                <a:gd name="T0" fmla="*/ 300 w 11"/>
                <a:gd name="T1" fmla="*/ 13 h 13"/>
                <a:gd name="T2" fmla="*/ 0 w 11"/>
                <a:gd name="T3" fmla="*/ 8 h 13"/>
                <a:gd name="T4" fmla="*/ 0 w 11"/>
                <a:gd name="T5" fmla="*/ 6 h 13"/>
                <a:gd name="T6" fmla="*/ 130 w 11"/>
                <a:gd name="T7" fmla="*/ 8 h 13"/>
                <a:gd name="T8" fmla="*/ 130 w 11"/>
                <a:gd name="T9" fmla="*/ 4 h 13"/>
                <a:gd name="T10" fmla="*/ 130 w 11"/>
                <a:gd name="T11" fmla="*/ 0 h 13"/>
                <a:gd name="T12" fmla="*/ 355 w 11"/>
                <a:gd name="T13" fmla="*/ 0 h 13"/>
                <a:gd name="T14" fmla="*/ 300 w 11"/>
                <a:gd name="T15" fmla="*/ 13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3"/>
                <a:gd name="T26" fmla="*/ 11 w 11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3">
                  <a:moveTo>
                    <a:pt x="9" y="13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5" y="8"/>
                  </a:lnTo>
                  <a:lnTo>
                    <a:pt x="5" y="4"/>
                  </a:lnTo>
                  <a:lnTo>
                    <a:pt x="5" y="0"/>
                  </a:lnTo>
                  <a:lnTo>
                    <a:pt x="11" y="0"/>
                  </a:lnTo>
                  <a:lnTo>
                    <a:pt x="9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0" name="Freeform 103"/>
            <p:cNvSpPr>
              <a:spLocks noChangeAspect="1"/>
            </p:cNvSpPr>
            <p:nvPr/>
          </p:nvSpPr>
          <p:spPr bwMode="auto">
            <a:xfrm>
              <a:off x="4545" y="2739"/>
              <a:ext cx="14" cy="11"/>
            </a:xfrm>
            <a:custGeom>
              <a:avLst/>
              <a:gdLst>
                <a:gd name="T0" fmla="*/ 0 w 13"/>
                <a:gd name="T1" fmla="*/ 11 h 11"/>
                <a:gd name="T2" fmla="*/ 4 w 13"/>
                <a:gd name="T3" fmla="*/ 0 h 11"/>
                <a:gd name="T4" fmla="*/ 62 w 13"/>
                <a:gd name="T5" fmla="*/ 0 h 11"/>
                <a:gd name="T6" fmla="*/ 62 w 13"/>
                <a:gd name="T7" fmla="*/ 11 h 11"/>
                <a:gd name="T8" fmla="*/ 6 w 13"/>
                <a:gd name="T9" fmla="*/ 6 h 11"/>
                <a:gd name="T10" fmla="*/ 0 w 13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1"/>
                <a:gd name="T20" fmla="*/ 13 w 1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1">
                  <a:moveTo>
                    <a:pt x="0" y="11"/>
                  </a:moveTo>
                  <a:lnTo>
                    <a:pt x="4" y="0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6" y="6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1" name="Freeform 104"/>
            <p:cNvSpPr>
              <a:spLocks noChangeAspect="1"/>
            </p:cNvSpPr>
            <p:nvPr/>
          </p:nvSpPr>
          <p:spPr bwMode="auto">
            <a:xfrm>
              <a:off x="4361" y="2669"/>
              <a:ext cx="12" cy="17"/>
            </a:xfrm>
            <a:custGeom>
              <a:avLst/>
              <a:gdLst>
                <a:gd name="T0" fmla="*/ 49 w 11"/>
                <a:gd name="T1" fmla="*/ 17 h 17"/>
                <a:gd name="T2" fmla="*/ 0 w 11"/>
                <a:gd name="T3" fmla="*/ 2 h 17"/>
                <a:gd name="T4" fmla="*/ 3 w 11"/>
                <a:gd name="T5" fmla="*/ 0 h 17"/>
                <a:gd name="T6" fmla="*/ 69 w 11"/>
                <a:gd name="T7" fmla="*/ 8 h 17"/>
                <a:gd name="T8" fmla="*/ 49 w 11"/>
                <a:gd name="T9" fmla="*/ 17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7"/>
                <a:gd name="T17" fmla="*/ 11 w 11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7">
                  <a:moveTo>
                    <a:pt x="7" y="17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11" y="8"/>
                  </a:lnTo>
                  <a:lnTo>
                    <a:pt x="7" y="1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2" name="Freeform 105"/>
            <p:cNvSpPr>
              <a:spLocks noChangeAspect="1"/>
            </p:cNvSpPr>
            <p:nvPr/>
          </p:nvSpPr>
          <p:spPr bwMode="auto">
            <a:xfrm>
              <a:off x="4387" y="2711"/>
              <a:ext cx="9" cy="13"/>
            </a:xfrm>
            <a:custGeom>
              <a:avLst/>
              <a:gdLst>
                <a:gd name="T0" fmla="*/ 1043 w 7"/>
                <a:gd name="T1" fmla="*/ 13 h 13"/>
                <a:gd name="T2" fmla="*/ 0 w 7"/>
                <a:gd name="T3" fmla="*/ 4 h 13"/>
                <a:gd name="T4" fmla="*/ 0 w 7"/>
                <a:gd name="T5" fmla="*/ 0 h 13"/>
                <a:gd name="T6" fmla="*/ 343 w 7"/>
                <a:gd name="T7" fmla="*/ 0 h 13"/>
                <a:gd name="T8" fmla="*/ 1341 w 7"/>
                <a:gd name="T9" fmla="*/ 8 h 13"/>
                <a:gd name="T10" fmla="*/ 1043 w 7"/>
                <a:gd name="T11" fmla="*/ 13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3"/>
                <a:gd name="T20" fmla="*/ 7 w 7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3">
                  <a:moveTo>
                    <a:pt x="5" y="13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7" y="8"/>
                  </a:lnTo>
                  <a:lnTo>
                    <a:pt x="5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3" name="Freeform 106"/>
            <p:cNvSpPr>
              <a:spLocks noChangeAspect="1"/>
            </p:cNvSpPr>
            <p:nvPr/>
          </p:nvSpPr>
          <p:spPr bwMode="auto">
            <a:xfrm>
              <a:off x="4966" y="2815"/>
              <a:ext cx="11" cy="21"/>
            </a:xfrm>
            <a:custGeom>
              <a:avLst/>
              <a:gdLst>
                <a:gd name="T0" fmla="*/ 4 w 10"/>
                <a:gd name="T1" fmla="*/ 49 h 20"/>
                <a:gd name="T2" fmla="*/ 0 w 10"/>
                <a:gd name="T3" fmla="*/ 39 h 20"/>
                <a:gd name="T4" fmla="*/ 63 w 10"/>
                <a:gd name="T5" fmla="*/ 0 h 20"/>
                <a:gd name="T6" fmla="*/ 76 w 10"/>
                <a:gd name="T7" fmla="*/ 9 h 20"/>
                <a:gd name="T8" fmla="*/ 4 w 10"/>
                <a:gd name="T9" fmla="*/ 49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0"/>
                <a:gd name="T17" fmla="*/ 10 w 1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0">
                  <a:moveTo>
                    <a:pt x="4" y="20"/>
                  </a:moveTo>
                  <a:lnTo>
                    <a:pt x="0" y="15"/>
                  </a:lnTo>
                  <a:lnTo>
                    <a:pt x="8" y="0"/>
                  </a:lnTo>
                  <a:lnTo>
                    <a:pt x="10" y="9"/>
                  </a:lnTo>
                  <a:lnTo>
                    <a:pt x="4" y="20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4" name="Freeform 107"/>
            <p:cNvSpPr>
              <a:spLocks noChangeAspect="1"/>
            </p:cNvSpPr>
            <p:nvPr/>
          </p:nvSpPr>
          <p:spPr bwMode="auto">
            <a:xfrm>
              <a:off x="4333" y="2642"/>
              <a:ext cx="15" cy="14"/>
            </a:xfrm>
            <a:custGeom>
              <a:avLst/>
              <a:gdLst>
                <a:gd name="T0" fmla="*/ 263 w 13"/>
                <a:gd name="T1" fmla="*/ 54 h 13"/>
                <a:gd name="T2" fmla="*/ 0 w 13"/>
                <a:gd name="T3" fmla="*/ 4 h 13"/>
                <a:gd name="T4" fmla="*/ 0 w 13"/>
                <a:gd name="T5" fmla="*/ 0 h 13"/>
                <a:gd name="T6" fmla="*/ 263 w 13"/>
                <a:gd name="T7" fmla="*/ 46 h 13"/>
                <a:gd name="T8" fmla="*/ 263 w 13"/>
                <a:gd name="T9" fmla="*/ 54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3"/>
                <a:gd name="T17" fmla="*/ 13 w 13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3">
                  <a:moveTo>
                    <a:pt x="13" y="13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13" y="11"/>
                  </a:lnTo>
                  <a:lnTo>
                    <a:pt x="13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5" name="Freeform 108"/>
            <p:cNvSpPr>
              <a:spLocks noChangeAspect="1"/>
            </p:cNvSpPr>
            <p:nvPr/>
          </p:nvSpPr>
          <p:spPr bwMode="auto">
            <a:xfrm>
              <a:off x="4554" y="2625"/>
              <a:ext cx="10" cy="8"/>
            </a:xfrm>
            <a:custGeom>
              <a:avLst/>
              <a:gdLst>
                <a:gd name="T0" fmla="*/ 2 w 9"/>
                <a:gd name="T1" fmla="*/ 8 h 8"/>
                <a:gd name="T2" fmla="*/ 0 w 9"/>
                <a:gd name="T3" fmla="*/ 2 h 8"/>
                <a:gd name="T4" fmla="*/ 2 w 9"/>
                <a:gd name="T5" fmla="*/ 0 h 8"/>
                <a:gd name="T6" fmla="*/ 57 w 9"/>
                <a:gd name="T7" fmla="*/ 2 h 8"/>
                <a:gd name="T8" fmla="*/ 87 w 9"/>
                <a:gd name="T9" fmla="*/ 8 h 8"/>
                <a:gd name="T10" fmla="*/ 2 w 9"/>
                <a:gd name="T11" fmla="*/ 8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2" y="8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5" y="2"/>
                  </a:lnTo>
                  <a:lnTo>
                    <a:pt x="9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6" name="Freeform 109"/>
            <p:cNvSpPr>
              <a:spLocks noChangeAspect="1"/>
            </p:cNvSpPr>
            <p:nvPr/>
          </p:nvSpPr>
          <p:spPr bwMode="auto">
            <a:xfrm>
              <a:off x="4472" y="2669"/>
              <a:ext cx="6" cy="6"/>
            </a:xfrm>
            <a:custGeom>
              <a:avLst/>
              <a:gdLst>
                <a:gd name="T0" fmla="*/ 0 w 6"/>
                <a:gd name="T1" fmla="*/ 0 h 6"/>
                <a:gd name="T2" fmla="*/ 4 w 6"/>
                <a:gd name="T3" fmla="*/ 6 h 6"/>
                <a:gd name="T4" fmla="*/ 6 w 6"/>
                <a:gd name="T5" fmla="*/ 0 h 6"/>
                <a:gd name="T6" fmla="*/ 4 w 6"/>
                <a:gd name="T7" fmla="*/ 6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4" y="6"/>
                  </a:lnTo>
                  <a:lnTo>
                    <a:pt x="6" y="0"/>
                  </a:lnTo>
                  <a:lnTo>
                    <a:pt x="4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7" name="Freeform 110"/>
            <p:cNvSpPr>
              <a:spLocks noChangeAspect="1"/>
            </p:cNvSpPr>
            <p:nvPr/>
          </p:nvSpPr>
          <p:spPr bwMode="auto">
            <a:xfrm>
              <a:off x="3285" y="2027"/>
              <a:ext cx="171" cy="157"/>
            </a:xfrm>
            <a:custGeom>
              <a:avLst/>
              <a:gdLst>
                <a:gd name="T0" fmla="*/ 413 w 155"/>
                <a:gd name="T1" fmla="*/ 7 h 154"/>
                <a:gd name="T2" fmla="*/ 471 w 155"/>
                <a:gd name="T3" fmla="*/ 0 h 154"/>
                <a:gd name="T4" fmla="*/ 564 w 155"/>
                <a:gd name="T5" fmla="*/ 3 h 154"/>
                <a:gd name="T6" fmla="*/ 686 w 155"/>
                <a:gd name="T7" fmla="*/ 7 h 154"/>
                <a:gd name="T8" fmla="*/ 731 w 155"/>
                <a:gd name="T9" fmla="*/ 7 h 154"/>
                <a:gd name="T10" fmla="*/ 757 w 155"/>
                <a:gd name="T11" fmla="*/ 11 h 154"/>
                <a:gd name="T12" fmla="*/ 803 w 155"/>
                <a:gd name="T13" fmla="*/ 18 h 154"/>
                <a:gd name="T14" fmla="*/ 829 w 155"/>
                <a:gd name="T15" fmla="*/ 46 h 154"/>
                <a:gd name="T16" fmla="*/ 888 w 155"/>
                <a:gd name="T17" fmla="*/ 46 h 154"/>
                <a:gd name="T18" fmla="*/ 963 w 155"/>
                <a:gd name="T19" fmla="*/ 46 h 154"/>
                <a:gd name="T20" fmla="*/ 977 w 155"/>
                <a:gd name="T21" fmla="*/ 51 h 154"/>
                <a:gd name="T22" fmla="*/ 921 w 155"/>
                <a:gd name="T23" fmla="*/ 53 h 154"/>
                <a:gd name="T24" fmla="*/ 963 w 155"/>
                <a:gd name="T25" fmla="*/ 61 h 154"/>
                <a:gd name="T26" fmla="*/ 888 w 155"/>
                <a:gd name="T27" fmla="*/ 66 h 154"/>
                <a:gd name="T28" fmla="*/ 888 w 155"/>
                <a:gd name="T29" fmla="*/ 72 h 154"/>
                <a:gd name="T30" fmla="*/ 857 w 155"/>
                <a:gd name="T31" fmla="*/ 77 h 154"/>
                <a:gd name="T32" fmla="*/ 857 w 155"/>
                <a:gd name="T33" fmla="*/ 93 h 154"/>
                <a:gd name="T34" fmla="*/ 963 w 155"/>
                <a:gd name="T35" fmla="*/ 111 h 154"/>
                <a:gd name="T36" fmla="*/ 977 w 155"/>
                <a:gd name="T37" fmla="*/ 120 h 154"/>
                <a:gd name="T38" fmla="*/ 1066 w 155"/>
                <a:gd name="T39" fmla="*/ 129 h 154"/>
                <a:gd name="T40" fmla="*/ 1134 w 155"/>
                <a:gd name="T41" fmla="*/ 132 h 154"/>
                <a:gd name="T42" fmla="*/ 1194 w 155"/>
                <a:gd name="T43" fmla="*/ 154 h 154"/>
                <a:gd name="T44" fmla="*/ 1194 w 155"/>
                <a:gd name="T45" fmla="*/ 154 h 154"/>
                <a:gd name="T46" fmla="*/ 1194 w 155"/>
                <a:gd name="T47" fmla="*/ 171 h 154"/>
                <a:gd name="T48" fmla="*/ 1251 w 155"/>
                <a:gd name="T49" fmla="*/ 177 h 154"/>
                <a:gd name="T50" fmla="*/ 1251 w 155"/>
                <a:gd name="T51" fmla="*/ 189 h 154"/>
                <a:gd name="T52" fmla="*/ 1297 w 155"/>
                <a:gd name="T53" fmla="*/ 205 h 154"/>
                <a:gd name="T54" fmla="*/ 1293 w 155"/>
                <a:gd name="T55" fmla="*/ 205 h 154"/>
                <a:gd name="T56" fmla="*/ 1194 w 155"/>
                <a:gd name="T57" fmla="*/ 205 h 154"/>
                <a:gd name="T58" fmla="*/ 1134 w 155"/>
                <a:gd name="T59" fmla="*/ 205 h 154"/>
                <a:gd name="T60" fmla="*/ 1121 w 155"/>
                <a:gd name="T61" fmla="*/ 216 h 154"/>
                <a:gd name="T62" fmla="*/ 1104 w 155"/>
                <a:gd name="T63" fmla="*/ 225 h 154"/>
                <a:gd name="T64" fmla="*/ 829 w 155"/>
                <a:gd name="T65" fmla="*/ 225 h 154"/>
                <a:gd name="T66" fmla="*/ 686 w 155"/>
                <a:gd name="T67" fmla="*/ 213 h 154"/>
                <a:gd name="T68" fmla="*/ 686 w 155"/>
                <a:gd name="T69" fmla="*/ 196 h 154"/>
                <a:gd name="T70" fmla="*/ 590 w 155"/>
                <a:gd name="T71" fmla="*/ 189 h 154"/>
                <a:gd name="T72" fmla="*/ 574 w 155"/>
                <a:gd name="T73" fmla="*/ 185 h 154"/>
                <a:gd name="T74" fmla="*/ 471 w 155"/>
                <a:gd name="T75" fmla="*/ 177 h 154"/>
                <a:gd name="T76" fmla="*/ 200 w 155"/>
                <a:gd name="T77" fmla="*/ 148 h 154"/>
                <a:gd name="T78" fmla="*/ 92 w 155"/>
                <a:gd name="T79" fmla="*/ 142 h 154"/>
                <a:gd name="T80" fmla="*/ 0 w 155"/>
                <a:gd name="T81" fmla="*/ 115 h 154"/>
                <a:gd name="T82" fmla="*/ 181 w 155"/>
                <a:gd name="T83" fmla="*/ 93 h 154"/>
                <a:gd name="T84" fmla="*/ 269 w 155"/>
                <a:gd name="T85" fmla="*/ 77 h 154"/>
                <a:gd name="T86" fmla="*/ 297 w 155"/>
                <a:gd name="T87" fmla="*/ 66 h 154"/>
                <a:gd name="T88" fmla="*/ 297 w 155"/>
                <a:gd name="T89" fmla="*/ 53 h 154"/>
                <a:gd name="T90" fmla="*/ 297 w 155"/>
                <a:gd name="T91" fmla="*/ 46 h 154"/>
                <a:gd name="T92" fmla="*/ 297 w 155"/>
                <a:gd name="T93" fmla="*/ 18 h 154"/>
                <a:gd name="T94" fmla="*/ 378 w 155"/>
                <a:gd name="T95" fmla="*/ 11 h 154"/>
                <a:gd name="T96" fmla="*/ 413 w 155"/>
                <a:gd name="T97" fmla="*/ 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55"/>
                <a:gd name="T148" fmla="*/ 0 h 154"/>
                <a:gd name="T149" fmla="*/ 155 w 155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55" h="154">
                  <a:moveTo>
                    <a:pt x="49" y="7"/>
                  </a:moveTo>
                  <a:lnTo>
                    <a:pt x="56" y="0"/>
                  </a:lnTo>
                  <a:lnTo>
                    <a:pt x="67" y="3"/>
                  </a:lnTo>
                  <a:lnTo>
                    <a:pt x="82" y="7"/>
                  </a:lnTo>
                  <a:lnTo>
                    <a:pt x="88" y="7"/>
                  </a:lnTo>
                  <a:lnTo>
                    <a:pt x="90" y="11"/>
                  </a:lnTo>
                  <a:lnTo>
                    <a:pt x="95" y="18"/>
                  </a:lnTo>
                  <a:lnTo>
                    <a:pt x="99" y="26"/>
                  </a:lnTo>
                  <a:lnTo>
                    <a:pt x="106" y="26"/>
                  </a:lnTo>
                  <a:lnTo>
                    <a:pt x="114" y="26"/>
                  </a:lnTo>
                  <a:lnTo>
                    <a:pt x="116" y="31"/>
                  </a:lnTo>
                  <a:lnTo>
                    <a:pt x="110" y="33"/>
                  </a:lnTo>
                  <a:lnTo>
                    <a:pt x="114" y="41"/>
                  </a:lnTo>
                  <a:lnTo>
                    <a:pt x="106" y="46"/>
                  </a:lnTo>
                  <a:lnTo>
                    <a:pt x="106" y="52"/>
                  </a:lnTo>
                  <a:lnTo>
                    <a:pt x="103" y="57"/>
                  </a:lnTo>
                  <a:lnTo>
                    <a:pt x="103" y="65"/>
                  </a:lnTo>
                  <a:lnTo>
                    <a:pt x="114" y="74"/>
                  </a:lnTo>
                  <a:lnTo>
                    <a:pt x="116" y="80"/>
                  </a:lnTo>
                  <a:lnTo>
                    <a:pt x="127" y="89"/>
                  </a:lnTo>
                  <a:lnTo>
                    <a:pt x="136" y="91"/>
                  </a:lnTo>
                  <a:lnTo>
                    <a:pt x="144" y="106"/>
                  </a:lnTo>
                  <a:lnTo>
                    <a:pt x="144" y="117"/>
                  </a:lnTo>
                  <a:lnTo>
                    <a:pt x="149" y="121"/>
                  </a:lnTo>
                  <a:lnTo>
                    <a:pt x="149" y="128"/>
                  </a:lnTo>
                  <a:lnTo>
                    <a:pt x="155" y="139"/>
                  </a:lnTo>
                  <a:lnTo>
                    <a:pt x="153" y="139"/>
                  </a:lnTo>
                  <a:lnTo>
                    <a:pt x="144" y="139"/>
                  </a:lnTo>
                  <a:lnTo>
                    <a:pt x="136" y="139"/>
                  </a:lnTo>
                  <a:lnTo>
                    <a:pt x="134" y="147"/>
                  </a:lnTo>
                  <a:lnTo>
                    <a:pt x="131" y="154"/>
                  </a:lnTo>
                  <a:lnTo>
                    <a:pt x="99" y="154"/>
                  </a:lnTo>
                  <a:lnTo>
                    <a:pt x="82" y="145"/>
                  </a:lnTo>
                  <a:lnTo>
                    <a:pt x="82" y="132"/>
                  </a:lnTo>
                  <a:lnTo>
                    <a:pt x="71" y="128"/>
                  </a:lnTo>
                  <a:lnTo>
                    <a:pt x="69" y="126"/>
                  </a:lnTo>
                  <a:lnTo>
                    <a:pt x="56" y="121"/>
                  </a:lnTo>
                  <a:lnTo>
                    <a:pt x="24" y="102"/>
                  </a:lnTo>
                  <a:lnTo>
                    <a:pt x="11" y="98"/>
                  </a:lnTo>
                  <a:lnTo>
                    <a:pt x="0" y="76"/>
                  </a:lnTo>
                  <a:lnTo>
                    <a:pt x="21" y="65"/>
                  </a:lnTo>
                  <a:lnTo>
                    <a:pt x="32" y="57"/>
                  </a:lnTo>
                  <a:lnTo>
                    <a:pt x="36" y="46"/>
                  </a:lnTo>
                  <a:lnTo>
                    <a:pt x="36" y="33"/>
                  </a:lnTo>
                  <a:lnTo>
                    <a:pt x="36" y="26"/>
                  </a:lnTo>
                  <a:lnTo>
                    <a:pt x="36" y="18"/>
                  </a:lnTo>
                  <a:lnTo>
                    <a:pt x="45" y="11"/>
                  </a:lnTo>
                  <a:lnTo>
                    <a:pt x="49" y="7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8" name="Freeform 111"/>
            <p:cNvSpPr>
              <a:spLocks noChangeAspect="1"/>
            </p:cNvSpPr>
            <p:nvPr/>
          </p:nvSpPr>
          <p:spPr bwMode="auto">
            <a:xfrm>
              <a:off x="3365" y="1979"/>
              <a:ext cx="361" cy="277"/>
            </a:xfrm>
            <a:custGeom>
              <a:avLst/>
              <a:gdLst>
                <a:gd name="T0" fmla="*/ 598 w 328"/>
                <a:gd name="T1" fmla="*/ 24 h 272"/>
                <a:gd name="T2" fmla="*/ 658 w 328"/>
                <a:gd name="T3" fmla="*/ 63 h 272"/>
                <a:gd name="T4" fmla="*/ 887 w 328"/>
                <a:gd name="T5" fmla="*/ 76 h 272"/>
                <a:gd name="T6" fmla="*/ 1223 w 328"/>
                <a:gd name="T7" fmla="*/ 74 h 272"/>
                <a:gd name="T8" fmla="*/ 1203 w 328"/>
                <a:gd name="T9" fmla="*/ 76 h 272"/>
                <a:gd name="T10" fmla="*/ 1287 w 328"/>
                <a:gd name="T11" fmla="*/ 76 h 272"/>
                <a:gd name="T12" fmla="*/ 1375 w 328"/>
                <a:gd name="T13" fmla="*/ 63 h 272"/>
                <a:gd name="T14" fmla="*/ 1532 w 328"/>
                <a:gd name="T15" fmla="*/ 48 h 272"/>
                <a:gd name="T16" fmla="*/ 1686 w 328"/>
                <a:gd name="T17" fmla="*/ 52 h 272"/>
                <a:gd name="T18" fmla="*/ 2168 w 328"/>
                <a:gd name="T19" fmla="*/ 76 h 272"/>
                <a:gd name="T20" fmla="*/ 2211 w 328"/>
                <a:gd name="T21" fmla="*/ 126 h 272"/>
                <a:gd name="T22" fmla="*/ 2211 w 328"/>
                <a:gd name="T23" fmla="*/ 148 h 272"/>
                <a:gd name="T24" fmla="*/ 2168 w 328"/>
                <a:gd name="T25" fmla="*/ 163 h 272"/>
                <a:gd name="T26" fmla="*/ 2168 w 328"/>
                <a:gd name="T27" fmla="*/ 176 h 272"/>
                <a:gd name="T28" fmla="*/ 2231 w 328"/>
                <a:gd name="T29" fmla="*/ 220 h 272"/>
                <a:gd name="T30" fmla="*/ 2386 w 328"/>
                <a:gd name="T31" fmla="*/ 240 h 272"/>
                <a:gd name="T32" fmla="*/ 2290 w 328"/>
                <a:gd name="T33" fmla="*/ 272 h 272"/>
                <a:gd name="T34" fmla="*/ 2481 w 328"/>
                <a:gd name="T35" fmla="*/ 300 h 272"/>
                <a:gd name="T36" fmla="*/ 2569 w 328"/>
                <a:gd name="T37" fmla="*/ 332 h 272"/>
                <a:gd name="T38" fmla="*/ 2623 w 328"/>
                <a:gd name="T39" fmla="*/ 344 h 272"/>
                <a:gd name="T40" fmla="*/ 2590 w 328"/>
                <a:gd name="T41" fmla="*/ 351 h 272"/>
                <a:gd name="T42" fmla="*/ 2503 w 328"/>
                <a:gd name="T43" fmla="*/ 357 h 272"/>
                <a:gd name="T44" fmla="*/ 2405 w 328"/>
                <a:gd name="T45" fmla="*/ 376 h 272"/>
                <a:gd name="T46" fmla="*/ 2350 w 328"/>
                <a:gd name="T47" fmla="*/ 385 h 272"/>
                <a:gd name="T48" fmla="*/ 2097 w 328"/>
                <a:gd name="T49" fmla="*/ 378 h 272"/>
                <a:gd name="T50" fmla="*/ 1840 w 328"/>
                <a:gd name="T51" fmla="*/ 372 h 272"/>
                <a:gd name="T52" fmla="*/ 1718 w 328"/>
                <a:gd name="T53" fmla="*/ 336 h 272"/>
                <a:gd name="T54" fmla="*/ 1604 w 328"/>
                <a:gd name="T55" fmla="*/ 344 h 272"/>
                <a:gd name="T56" fmla="*/ 1489 w 328"/>
                <a:gd name="T57" fmla="*/ 355 h 272"/>
                <a:gd name="T58" fmla="*/ 1287 w 328"/>
                <a:gd name="T59" fmla="*/ 342 h 272"/>
                <a:gd name="T60" fmla="*/ 1169 w 328"/>
                <a:gd name="T61" fmla="*/ 321 h 272"/>
                <a:gd name="T62" fmla="*/ 1015 w 328"/>
                <a:gd name="T63" fmla="*/ 297 h 272"/>
                <a:gd name="T64" fmla="*/ 932 w 328"/>
                <a:gd name="T65" fmla="*/ 283 h 272"/>
                <a:gd name="T66" fmla="*/ 864 w 328"/>
                <a:gd name="T67" fmla="*/ 257 h 272"/>
                <a:gd name="T68" fmla="*/ 745 w 328"/>
                <a:gd name="T69" fmla="*/ 257 h 272"/>
                <a:gd name="T70" fmla="*/ 703 w 328"/>
                <a:gd name="T71" fmla="*/ 250 h 272"/>
                <a:gd name="T72" fmla="*/ 658 w 328"/>
                <a:gd name="T73" fmla="*/ 263 h 272"/>
                <a:gd name="T74" fmla="*/ 619 w 328"/>
                <a:gd name="T75" fmla="*/ 240 h 272"/>
                <a:gd name="T76" fmla="*/ 562 w 328"/>
                <a:gd name="T77" fmla="*/ 220 h 272"/>
                <a:gd name="T78" fmla="*/ 513 w 328"/>
                <a:gd name="T79" fmla="*/ 200 h 272"/>
                <a:gd name="T80" fmla="*/ 348 w 328"/>
                <a:gd name="T81" fmla="*/ 182 h 272"/>
                <a:gd name="T82" fmla="*/ 262 w 328"/>
                <a:gd name="T83" fmla="*/ 160 h 272"/>
                <a:gd name="T84" fmla="*/ 281 w 328"/>
                <a:gd name="T85" fmla="*/ 140 h 272"/>
                <a:gd name="T86" fmla="*/ 322 w 328"/>
                <a:gd name="T87" fmla="*/ 128 h 272"/>
                <a:gd name="T88" fmla="*/ 348 w 328"/>
                <a:gd name="T89" fmla="*/ 114 h 272"/>
                <a:gd name="T90" fmla="*/ 281 w 328"/>
                <a:gd name="T91" fmla="*/ 104 h 272"/>
                <a:gd name="T92" fmla="*/ 192 w 328"/>
                <a:gd name="T93" fmla="*/ 88 h 272"/>
                <a:gd name="T94" fmla="*/ 131 w 328"/>
                <a:gd name="T95" fmla="*/ 74 h 272"/>
                <a:gd name="T96" fmla="*/ 74 w 328"/>
                <a:gd name="T97" fmla="*/ 54 h 272"/>
                <a:gd name="T98" fmla="*/ 74 w 328"/>
                <a:gd name="T99" fmla="*/ 24 h 272"/>
                <a:gd name="T100" fmla="*/ 74 w 328"/>
                <a:gd name="T101" fmla="*/ 0 h 272"/>
                <a:gd name="T102" fmla="*/ 322 w 328"/>
                <a:gd name="T103" fmla="*/ 19 h 2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28"/>
                <a:gd name="T157" fmla="*/ 0 h 272"/>
                <a:gd name="T158" fmla="*/ 328 w 328"/>
                <a:gd name="T159" fmla="*/ 272 h 2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28" h="272">
                  <a:moveTo>
                    <a:pt x="54" y="15"/>
                  </a:moveTo>
                  <a:lnTo>
                    <a:pt x="74" y="24"/>
                  </a:lnTo>
                  <a:lnTo>
                    <a:pt x="71" y="28"/>
                  </a:lnTo>
                  <a:lnTo>
                    <a:pt x="82" y="43"/>
                  </a:lnTo>
                  <a:lnTo>
                    <a:pt x="97" y="47"/>
                  </a:lnTo>
                  <a:lnTo>
                    <a:pt x="112" y="56"/>
                  </a:lnTo>
                  <a:lnTo>
                    <a:pt x="136" y="58"/>
                  </a:lnTo>
                  <a:lnTo>
                    <a:pt x="153" y="54"/>
                  </a:lnTo>
                  <a:lnTo>
                    <a:pt x="158" y="54"/>
                  </a:lnTo>
                  <a:lnTo>
                    <a:pt x="151" y="56"/>
                  </a:lnTo>
                  <a:lnTo>
                    <a:pt x="151" y="58"/>
                  </a:lnTo>
                  <a:lnTo>
                    <a:pt x="162" y="56"/>
                  </a:lnTo>
                  <a:lnTo>
                    <a:pt x="158" y="47"/>
                  </a:lnTo>
                  <a:lnTo>
                    <a:pt x="173" y="43"/>
                  </a:lnTo>
                  <a:lnTo>
                    <a:pt x="181" y="28"/>
                  </a:lnTo>
                  <a:lnTo>
                    <a:pt x="192" y="28"/>
                  </a:lnTo>
                  <a:lnTo>
                    <a:pt x="207" y="24"/>
                  </a:lnTo>
                  <a:lnTo>
                    <a:pt x="212" y="32"/>
                  </a:lnTo>
                  <a:lnTo>
                    <a:pt x="233" y="39"/>
                  </a:lnTo>
                  <a:lnTo>
                    <a:pt x="272" y="56"/>
                  </a:lnTo>
                  <a:lnTo>
                    <a:pt x="276" y="73"/>
                  </a:lnTo>
                  <a:lnTo>
                    <a:pt x="276" y="86"/>
                  </a:lnTo>
                  <a:lnTo>
                    <a:pt x="272" y="99"/>
                  </a:lnTo>
                  <a:lnTo>
                    <a:pt x="276" y="104"/>
                  </a:lnTo>
                  <a:lnTo>
                    <a:pt x="270" y="104"/>
                  </a:lnTo>
                  <a:lnTo>
                    <a:pt x="272" y="114"/>
                  </a:lnTo>
                  <a:lnTo>
                    <a:pt x="276" y="119"/>
                  </a:lnTo>
                  <a:lnTo>
                    <a:pt x="272" y="123"/>
                  </a:lnTo>
                  <a:lnTo>
                    <a:pt x="281" y="138"/>
                  </a:lnTo>
                  <a:lnTo>
                    <a:pt x="281" y="153"/>
                  </a:lnTo>
                  <a:lnTo>
                    <a:pt x="296" y="157"/>
                  </a:lnTo>
                  <a:lnTo>
                    <a:pt x="298" y="168"/>
                  </a:lnTo>
                  <a:lnTo>
                    <a:pt x="292" y="175"/>
                  </a:lnTo>
                  <a:lnTo>
                    <a:pt x="287" y="188"/>
                  </a:lnTo>
                  <a:lnTo>
                    <a:pt x="300" y="207"/>
                  </a:lnTo>
                  <a:lnTo>
                    <a:pt x="311" y="209"/>
                  </a:lnTo>
                  <a:lnTo>
                    <a:pt x="320" y="218"/>
                  </a:lnTo>
                  <a:lnTo>
                    <a:pt x="322" y="231"/>
                  </a:lnTo>
                  <a:lnTo>
                    <a:pt x="328" y="231"/>
                  </a:lnTo>
                  <a:lnTo>
                    <a:pt x="328" y="239"/>
                  </a:lnTo>
                  <a:lnTo>
                    <a:pt x="326" y="239"/>
                  </a:lnTo>
                  <a:lnTo>
                    <a:pt x="326" y="244"/>
                  </a:lnTo>
                  <a:lnTo>
                    <a:pt x="320" y="244"/>
                  </a:lnTo>
                  <a:lnTo>
                    <a:pt x="313" y="248"/>
                  </a:lnTo>
                  <a:lnTo>
                    <a:pt x="307" y="248"/>
                  </a:lnTo>
                  <a:lnTo>
                    <a:pt x="302" y="261"/>
                  </a:lnTo>
                  <a:lnTo>
                    <a:pt x="302" y="272"/>
                  </a:lnTo>
                  <a:lnTo>
                    <a:pt x="296" y="268"/>
                  </a:lnTo>
                  <a:lnTo>
                    <a:pt x="281" y="263"/>
                  </a:lnTo>
                  <a:lnTo>
                    <a:pt x="263" y="263"/>
                  </a:lnTo>
                  <a:lnTo>
                    <a:pt x="248" y="261"/>
                  </a:lnTo>
                  <a:lnTo>
                    <a:pt x="231" y="259"/>
                  </a:lnTo>
                  <a:lnTo>
                    <a:pt x="225" y="244"/>
                  </a:lnTo>
                  <a:lnTo>
                    <a:pt x="216" y="233"/>
                  </a:lnTo>
                  <a:lnTo>
                    <a:pt x="207" y="237"/>
                  </a:lnTo>
                  <a:lnTo>
                    <a:pt x="201" y="239"/>
                  </a:lnTo>
                  <a:lnTo>
                    <a:pt x="192" y="244"/>
                  </a:lnTo>
                  <a:lnTo>
                    <a:pt x="188" y="246"/>
                  </a:lnTo>
                  <a:lnTo>
                    <a:pt x="177" y="244"/>
                  </a:lnTo>
                  <a:lnTo>
                    <a:pt x="162" y="237"/>
                  </a:lnTo>
                  <a:lnTo>
                    <a:pt x="153" y="231"/>
                  </a:lnTo>
                  <a:lnTo>
                    <a:pt x="147" y="224"/>
                  </a:lnTo>
                  <a:lnTo>
                    <a:pt x="136" y="222"/>
                  </a:lnTo>
                  <a:lnTo>
                    <a:pt x="128" y="207"/>
                  </a:lnTo>
                  <a:lnTo>
                    <a:pt x="123" y="201"/>
                  </a:lnTo>
                  <a:lnTo>
                    <a:pt x="117" y="196"/>
                  </a:lnTo>
                  <a:lnTo>
                    <a:pt x="112" y="183"/>
                  </a:lnTo>
                  <a:lnTo>
                    <a:pt x="108" y="179"/>
                  </a:lnTo>
                  <a:lnTo>
                    <a:pt x="102" y="183"/>
                  </a:lnTo>
                  <a:lnTo>
                    <a:pt x="93" y="179"/>
                  </a:lnTo>
                  <a:lnTo>
                    <a:pt x="93" y="175"/>
                  </a:lnTo>
                  <a:lnTo>
                    <a:pt x="89" y="175"/>
                  </a:lnTo>
                  <a:lnTo>
                    <a:pt x="89" y="183"/>
                  </a:lnTo>
                  <a:lnTo>
                    <a:pt x="82" y="183"/>
                  </a:lnTo>
                  <a:lnTo>
                    <a:pt x="78" y="175"/>
                  </a:lnTo>
                  <a:lnTo>
                    <a:pt x="78" y="168"/>
                  </a:lnTo>
                  <a:lnTo>
                    <a:pt x="71" y="164"/>
                  </a:lnTo>
                  <a:lnTo>
                    <a:pt x="71" y="153"/>
                  </a:lnTo>
                  <a:lnTo>
                    <a:pt x="65" y="138"/>
                  </a:lnTo>
                  <a:lnTo>
                    <a:pt x="56" y="136"/>
                  </a:lnTo>
                  <a:lnTo>
                    <a:pt x="43" y="127"/>
                  </a:lnTo>
                  <a:lnTo>
                    <a:pt x="41" y="119"/>
                  </a:lnTo>
                  <a:lnTo>
                    <a:pt x="33" y="112"/>
                  </a:lnTo>
                  <a:lnTo>
                    <a:pt x="33" y="104"/>
                  </a:lnTo>
                  <a:lnTo>
                    <a:pt x="35" y="99"/>
                  </a:lnTo>
                  <a:lnTo>
                    <a:pt x="35" y="93"/>
                  </a:lnTo>
                  <a:lnTo>
                    <a:pt x="41" y="88"/>
                  </a:lnTo>
                  <a:lnTo>
                    <a:pt x="39" y="80"/>
                  </a:lnTo>
                  <a:lnTo>
                    <a:pt x="43" y="78"/>
                  </a:lnTo>
                  <a:lnTo>
                    <a:pt x="41" y="73"/>
                  </a:lnTo>
                  <a:lnTo>
                    <a:pt x="35" y="73"/>
                  </a:lnTo>
                  <a:lnTo>
                    <a:pt x="28" y="73"/>
                  </a:lnTo>
                  <a:lnTo>
                    <a:pt x="24" y="65"/>
                  </a:lnTo>
                  <a:lnTo>
                    <a:pt x="20" y="58"/>
                  </a:lnTo>
                  <a:lnTo>
                    <a:pt x="17" y="54"/>
                  </a:lnTo>
                  <a:lnTo>
                    <a:pt x="13" y="43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24"/>
                  </a:lnTo>
                  <a:lnTo>
                    <a:pt x="0" y="9"/>
                  </a:lnTo>
                  <a:lnTo>
                    <a:pt x="9" y="0"/>
                  </a:lnTo>
                  <a:lnTo>
                    <a:pt x="20" y="15"/>
                  </a:lnTo>
                  <a:lnTo>
                    <a:pt x="41" y="19"/>
                  </a:lnTo>
                  <a:lnTo>
                    <a:pt x="54" y="1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19" name="Freeform 112"/>
            <p:cNvSpPr>
              <a:spLocks noChangeAspect="1"/>
            </p:cNvSpPr>
            <p:nvPr/>
          </p:nvSpPr>
          <p:spPr bwMode="auto">
            <a:xfrm>
              <a:off x="3211" y="2108"/>
              <a:ext cx="21" cy="73"/>
            </a:xfrm>
            <a:custGeom>
              <a:avLst/>
              <a:gdLst>
                <a:gd name="T0" fmla="*/ 76 w 19"/>
                <a:gd name="T1" fmla="*/ 2 h 71"/>
                <a:gd name="T2" fmla="*/ 114 w 19"/>
                <a:gd name="T3" fmla="*/ 2 h 71"/>
                <a:gd name="T4" fmla="*/ 114 w 19"/>
                <a:gd name="T5" fmla="*/ 0 h 71"/>
                <a:gd name="T6" fmla="*/ 170 w 19"/>
                <a:gd name="T7" fmla="*/ 0 h 71"/>
                <a:gd name="T8" fmla="*/ 170 w 19"/>
                <a:gd name="T9" fmla="*/ 2 h 71"/>
                <a:gd name="T10" fmla="*/ 114 w 19"/>
                <a:gd name="T11" fmla="*/ 11 h 71"/>
                <a:gd name="T12" fmla="*/ 114 w 19"/>
                <a:gd name="T13" fmla="*/ 15 h 71"/>
                <a:gd name="T14" fmla="*/ 114 w 19"/>
                <a:gd name="T15" fmla="*/ 15 h 71"/>
                <a:gd name="T16" fmla="*/ 114 w 19"/>
                <a:gd name="T17" fmla="*/ 42 h 71"/>
                <a:gd name="T18" fmla="*/ 114 w 19"/>
                <a:gd name="T19" fmla="*/ 46 h 71"/>
                <a:gd name="T20" fmla="*/ 114 w 19"/>
                <a:gd name="T21" fmla="*/ 68 h 71"/>
                <a:gd name="T22" fmla="*/ 114 w 19"/>
                <a:gd name="T23" fmla="*/ 90 h 71"/>
                <a:gd name="T24" fmla="*/ 114 w 19"/>
                <a:gd name="T25" fmla="*/ 113 h 71"/>
                <a:gd name="T26" fmla="*/ 76 w 19"/>
                <a:gd name="T27" fmla="*/ 122 h 71"/>
                <a:gd name="T28" fmla="*/ 76 w 19"/>
                <a:gd name="T29" fmla="*/ 104 h 71"/>
                <a:gd name="T30" fmla="*/ 4 w 19"/>
                <a:gd name="T31" fmla="*/ 82 h 71"/>
                <a:gd name="T32" fmla="*/ 0 w 19"/>
                <a:gd name="T33" fmla="*/ 68 h 71"/>
                <a:gd name="T34" fmla="*/ 4 w 19"/>
                <a:gd name="T35" fmla="*/ 53 h 71"/>
                <a:gd name="T36" fmla="*/ 0 w 19"/>
                <a:gd name="T37" fmla="*/ 46 h 71"/>
                <a:gd name="T38" fmla="*/ 4 w 19"/>
                <a:gd name="T39" fmla="*/ 46 h 71"/>
                <a:gd name="T40" fmla="*/ 4 w 19"/>
                <a:gd name="T41" fmla="*/ 15 h 71"/>
                <a:gd name="T42" fmla="*/ 76 w 19"/>
                <a:gd name="T43" fmla="*/ 2 h 7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"/>
                <a:gd name="T67" fmla="*/ 0 h 71"/>
                <a:gd name="T68" fmla="*/ 19 w 19"/>
                <a:gd name="T69" fmla="*/ 71 h 7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" h="71">
                  <a:moveTo>
                    <a:pt x="9" y="2"/>
                  </a:moveTo>
                  <a:lnTo>
                    <a:pt x="13" y="2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3" y="11"/>
                  </a:lnTo>
                  <a:lnTo>
                    <a:pt x="13" y="15"/>
                  </a:lnTo>
                  <a:lnTo>
                    <a:pt x="13" y="22"/>
                  </a:lnTo>
                  <a:lnTo>
                    <a:pt x="13" y="26"/>
                  </a:lnTo>
                  <a:lnTo>
                    <a:pt x="13" y="41"/>
                  </a:lnTo>
                  <a:lnTo>
                    <a:pt x="13" y="52"/>
                  </a:lnTo>
                  <a:lnTo>
                    <a:pt x="13" y="65"/>
                  </a:lnTo>
                  <a:lnTo>
                    <a:pt x="9" y="71"/>
                  </a:lnTo>
                  <a:lnTo>
                    <a:pt x="9" y="59"/>
                  </a:lnTo>
                  <a:lnTo>
                    <a:pt x="4" y="48"/>
                  </a:lnTo>
                  <a:lnTo>
                    <a:pt x="0" y="41"/>
                  </a:lnTo>
                  <a:lnTo>
                    <a:pt x="4" y="33"/>
                  </a:lnTo>
                  <a:lnTo>
                    <a:pt x="0" y="26"/>
                  </a:lnTo>
                  <a:lnTo>
                    <a:pt x="4" y="26"/>
                  </a:lnTo>
                  <a:lnTo>
                    <a:pt x="4" y="15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0" name="Freeform 113"/>
            <p:cNvSpPr>
              <a:spLocks noChangeAspect="1"/>
            </p:cNvSpPr>
            <p:nvPr/>
          </p:nvSpPr>
          <p:spPr bwMode="auto">
            <a:xfrm>
              <a:off x="4895" y="1862"/>
              <a:ext cx="168" cy="197"/>
            </a:xfrm>
            <a:custGeom>
              <a:avLst/>
              <a:gdLst>
                <a:gd name="T0" fmla="*/ 565 w 153"/>
                <a:gd name="T1" fmla="*/ 282 h 193"/>
                <a:gd name="T2" fmla="*/ 503 w 153"/>
                <a:gd name="T3" fmla="*/ 270 h 193"/>
                <a:gd name="T4" fmla="*/ 522 w 153"/>
                <a:gd name="T5" fmla="*/ 256 h 193"/>
                <a:gd name="T6" fmla="*/ 446 w 153"/>
                <a:gd name="T7" fmla="*/ 249 h 193"/>
                <a:gd name="T8" fmla="*/ 281 w 153"/>
                <a:gd name="T9" fmla="*/ 261 h 193"/>
                <a:gd name="T10" fmla="*/ 180 w 153"/>
                <a:gd name="T11" fmla="*/ 266 h 193"/>
                <a:gd name="T12" fmla="*/ 163 w 153"/>
                <a:gd name="T13" fmla="*/ 266 h 193"/>
                <a:gd name="T14" fmla="*/ 163 w 153"/>
                <a:gd name="T15" fmla="*/ 280 h 193"/>
                <a:gd name="T16" fmla="*/ 67 w 153"/>
                <a:gd name="T17" fmla="*/ 274 h 193"/>
                <a:gd name="T18" fmla="*/ 0 w 153"/>
                <a:gd name="T19" fmla="*/ 266 h 193"/>
                <a:gd name="T20" fmla="*/ 67 w 153"/>
                <a:gd name="T21" fmla="*/ 259 h 193"/>
                <a:gd name="T22" fmla="*/ 144 w 153"/>
                <a:gd name="T23" fmla="*/ 238 h 193"/>
                <a:gd name="T24" fmla="*/ 163 w 153"/>
                <a:gd name="T25" fmla="*/ 223 h 193"/>
                <a:gd name="T26" fmla="*/ 229 w 153"/>
                <a:gd name="T27" fmla="*/ 223 h 193"/>
                <a:gd name="T28" fmla="*/ 281 w 153"/>
                <a:gd name="T29" fmla="*/ 223 h 193"/>
                <a:gd name="T30" fmla="*/ 456 w 153"/>
                <a:gd name="T31" fmla="*/ 209 h 193"/>
                <a:gd name="T32" fmla="*/ 503 w 153"/>
                <a:gd name="T33" fmla="*/ 219 h 193"/>
                <a:gd name="T34" fmla="*/ 565 w 153"/>
                <a:gd name="T35" fmla="*/ 209 h 193"/>
                <a:gd name="T36" fmla="*/ 550 w 153"/>
                <a:gd name="T37" fmla="*/ 194 h 193"/>
                <a:gd name="T38" fmla="*/ 565 w 153"/>
                <a:gd name="T39" fmla="*/ 155 h 193"/>
                <a:gd name="T40" fmla="*/ 640 w 153"/>
                <a:gd name="T41" fmla="*/ 155 h 193"/>
                <a:gd name="T42" fmla="*/ 612 w 153"/>
                <a:gd name="T43" fmla="*/ 166 h 193"/>
                <a:gd name="T44" fmla="*/ 663 w 153"/>
                <a:gd name="T45" fmla="*/ 173 h 193"/>
                <a:gd name="T46" fmla="*/ 783 w 153"/>
                <a:gd name="T47" fmla="*/ 161 h 193"/>
                <a:gd name="T48" fmla="*/ 862 w 153"/>
                <a:gd name="T49" fmla="*/ 133 h 193"/>
                <a:gd name="T50" fmla="*/ 862 w 153"/>
                <a:gd name="T51" fmla="*/ 85 h 193"/>
                <a:gd name="T52" fmla="*/ 862 w 153"/>
                <a:gd name="T53" fmla="*/ 64 h 193"/>
                <a:gd name="T54" fmla="*/ 833 w 153"/>
                <a:gd name="T55" fmla="*/ 57 h 193"/>
                <a:gd name="T56" fmla="*/ 862 w 153"/>
                <a:gd name="T57" fmla="*/ 20 h 193"/>
                <a:gd name="T58" fmla="*/ 862 w 153"/>
                <a:gd name="T59" fmla="*/ 9 h 193"/>
                <a:gd name="T60" fmla="*/ 930 w 153"/>
                <a:gd name="T61" fmla="*/ 16 h 193"/>
                <a:gd name="T62" fmla="*/ 947 w 153"/>
                <a:gd name="T63" fmla="*/ 9 h 193"/>
                <a:gd name="T64" fmla="*/ 901 w 153"/>
                <a:gd name="T65" fmla="*/ 0 h 193"/>
                <a:gd name="T66" fmla="*/ 976 w 153"/>
                <a:gd name="T67" fmla="*/ 5 h 193"/>
                <a:gd name="T68" fmla="*/ 1042 w 153"/>
                <a:gd name="T69" fmla="*/ 24 h 193"/>
                <a:gd name="T70" fmla="*/ 1107 w 153"/>
                <a:gd name="T71" fmla="*/ 66 h 193"/>
                <a:gd name="T72" fmla="*/ 1136 w 153"/>
                <a:gd name="T73" fmla="*/ 85 h 193"/>
                <a:gd name="T74" fmla="*/ 1136 w 153"/>
                <a:gd name="T75" fmla="*/ 116 h 193"/>
                <a:gd name="T76" fmla="*/ 1057 w 153"/>
                <a:gd name="T77" fmla="*/ 120 h 193"/>
                <a:gd name="T78" fmla="*/ 1107 w 153"/>
                <a:gd name="T79" fmla="*/ 166 h 193"/>
                <a:gd name="T80" fmla="*/ 1151 w 153"/>
                <a:gd name="T81" fmla="*/ 209 h 193"/>
                <a:gd name="T82" fmla="*/ 1107 w 153"/>
                <a:gd name="T83" fmla="*/ 223 h 193"/>
                <a:gd name="T84" fmla="*/ 1057 w 153"/>
                <a:gd name="T85" fmla="*/ 214 h 193"/>
                <a:gd name="T86" fmla="*/ 1008 w 153"/>
                <a:gd name="T87" fmla="*/ 219 h 193"/>
                <a:gd name="T88" fmla="*/ 995 w 153"/>
                <a:gd name="T89" fmla="*/ 219 h 193"/>
                <a:gd name="T90" fmla="*/ 976 w 153"/>
                <a:gd name="T91" fmla="*/ 238 h 193"/>
                <a:gd name="T92" fmla="*/ 901 w 153"/>
                <a:gd name="T93" fmla="*/ 231 h 193"/>
                <a:gd name="T94" fmla="*/ 862 w 153"/>
                <a:gd name="T95" fmla="*/ 249 h 193"/>
                <a:gd name="T96" fmla="*/ 748 w 153"/>
                <a:gd name="T97" fmla="*/ 256 h 193"/>
                <a:gd name="T98" fmla="*/ 684 w 153"/>
                <a:gd name="T99" fmla="*/ 244 h 193"/>
                <a:gd name="T100" fmla="*/ 663 w 153"/>
                <a:gd name="T101" fmla="*/ 231 h 193"/>
                <a:gd name="T102" fmla="*/ 715 w 153"/>
                <a:gd name="T103" fmla="*/ 256 h 193"/>
                <a:gd name="T104" fmla="*/ 640 w 153"/>
                <a:gd name="T105" fmla="*/ 266 h 19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3"/>
                <a:gd name="T160" fmla="*/ 0 h 193"/>
                <a:gd name="T161" fmla="*/ 153 w 153"/>
                <a:gd name="T162" fmla="*/ 193 h 19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3" h="193">
                  <a:moveTo>
                    <a:pt x="82" y="193"/>
                  </a:moveTo>
                  <a:lnTo>
                    <a:pt x="75" y="188"/>
                  </a:lnTo>
                  <a:lnTo>
                    <a:pt x="67" y="182"/>
                  </a:lnTo>
                  <a:lnTo>
                    <a:pt x="67" y="180"/>
                  </a:lnTo>
                  <a:lnTo>
                    <a:pt x="67" y="173"/>
                  </a:lnTo>
                  <a:lnTo>
                    <a:pt x="69" y="169"/>
                  </a:lnTo>
                  <a:lnTo>
                    <a:pt x="67" y="165"/>
                  </a:lnTo>
                  <a:lnTo>
                    <a:pt x="58" y="165"/>
                  </a:lnTo>
                  <a:lnTo>
                    <a:pt x="50" y="169"/>
                  </a:lnTo>
                  <a:lnTo>
                    <a:pt x="37" y="173"/>
                  </a:lnTo>
                  <a:lnTo>
                    <a:pt x="24" y="180"/>
                  </a:lnTo>
                  <a:lnTo>
                    <a:pt x="24" y="177"/>
                  </a:lnTo>
                  <a:lnTo>
                    <a:pt x="21" y="173"/>
                  </a:lnTo>
                  <a:lnTo>
                    <a:pt x="21" y="177"/>
                  </a:lnTo>
                  <a:lnTo>
                    <a:pt x="21" y="182"/>
                  </a:lnTo>
                  <a:lnTo>
                    <a:pt x="21" y="186"/>
                  </a:lnTo>
                  <a:lnTo>
                    <a:pt x="15" y="182"/>
                  </a:lnTo>
                  <a:lnTo>
                    <a:pt x="9" y="182"/>
                  </a:lnTo>
                  <a:lnTo>
                    <a:pt x="0" y="186"/>
                  </a:lnTo>
                  <a:lnTo>
                    <a:pt x="0" y="177"/>
                  </a:lnTo>
                  <a:lnTo>
                    <a:pt x="6" y="173"/>
                  </a:lnTo>
                  <a:lnTo>
                    <a:pt x="9" y="171"/>
                  </a:lnTo>
                  <a:lnTo>
                    <a:pt x="15" y="169"/>
                  </a:lnTo>
                  <a:lnTo>
                    <a:pt x="19" y="158"/>
                  </a:lnTo>
                  <a:lnTo>
                    <a:pt x="24" y="154"/>
                  </a:lnTo>
                  <a:lnTo>
                    <a:pt x="21" y="149"/>
                  </a:lnTo>
                  <a:lnTo>
                    <a:pt x="30" y="147"/>
                  </a:lnTo>
                  <a:lnTo>
                    <a:pt x="30" y="149"/>
                  </a:lnTo>
                  <a:lnTo>
                    <a:pt x="34" y="149"/>
                  </a:lnTo>
                  <a:lnTo>
                    <a:pt x="37" y="149"/>
                  </a:lnTo>
                  <a:lnTo>
                    <a:pt x="58" y="143"/>
                  </a:lnTo>
                  <a:lnTo>
                    <a:pt x="60" y="139"/>
                  </a:lnTo>
                  <a:lnTo>
                    <a:pt x="65" y="143"/>
                  </a:lnTo>
                  <a:lnTo>
                    <a:pt x="67" y="147"/>
                  </a:lnTo>
                  <a:lnTo>
                    <a:pt x="69" y="143"/>
                  </a:lnTo>
                  <a:lnTo>
                    <a:pt x="75" y="139"/>
                  </a:lnTo>
                  <a:lnTo>
                    <a:pt x="69" y="134"/>
                  </a:lnTo>
                  <a:lnTo>
                    <a:pt x="73" y="128"/>
                  </a:lnTo>
                  <a:lnTo>
                    <a:pt x="80" y="115"/>
                  </a:lnTo>
                  <a:lnTo>
                    <a:pt x="75" y="104"/>
                  </a:lnTo>
                  <a:lnTo>
                    <a:pt x="84" y="98"/>
                  </a:lnTo>
                  <a:lnTo>
                    <a:pt x="84" y="104"/>
                  </a:lnTo>
                  <a:lnTo>
                    <a:pt x="82" y="108"/>
                  </a:lnTo>
                  <a:lnTo>
                    <a:pt x="82" y="111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1" y="113"/>
                  </a:lnTo>
                  <a:lnTo>
                    <a:pt x="103" y="108"/>
                  </a:lnTo>
                  <a:lnTo>
                    <a:pt x="110" y="89"/>
                  </a:lnTo>
                  <a:lnTo>
                    <a:pt x="114" y="89"/>
                  </a:lnTo>
                  <a:lnTo>
                    <a:pt x="114" y="74"/>
                  </a:lnTo>
                  <a:lnTo>
                    <a:pt x="114" y="59"/>
                  </a:lnTo>
                  <a:lnTo>
                    <a:pt x="114" y="39"/>
                  </a:lnTo>
                  <a:lnTo>
                    <a:pt x="114" y="44"/>
                  </a:lnTo>
                  <a:lnTo>
                    <a:pt x="110" y="39"/>
                  </a:lnTo>
                  <a:lnTo>
                    <a:pt x="110" y="37"/>
                  </a:lnTo>
                  <a:lnTo>
                    <a:pt x="110" y="24"/>
                  </a:lnTo>
                  <a:lnTo>
                    <a:pt x="114" y="20"/>
                  </a:lnTo>
                  <a:lnTo>
                    <a:pt x="110" y="11"/>
                  </a:lnTo>
                  <a:lnTo>
                    <a:pt x="114" y="9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5" y="16"/>
                  </a:lnTo>
                  <a:lnTo>
                    <a:pt x="125" y="9"/>
                  </a:lnTo>
                  <a:lnTo>
                    <a:pt x="119" y="9"/>
                  </a:lnTo>
                  <a:lnTo>
                    <a:pt x="119" y="0"/>
                  </a:lnTo>
                  <a:lnTo>
                    <a:pt x="123" y="5"/>
                  </a:lnTo>
                  <a:lnTo>
                    <a:pt x="129" y="5"/>
                  </a:lnTo>
                  <a:lnTo>
                    <a:pt x="132" y="20"/>
                  </a:lnTo>
                  <a:lnTo>
                    <a:pt x="138" y="24"/>
                  </a:lnTo>
                  <a:lnTo>
                    <a:pt x="142" y="37"/>
                  </a:lnTo>
                  <a:lnTo>
                    <a:pt x="147" y="46"/>
                  </a:lnTo>
                  <a:lnTo>
                    <a:pt x="149" y="46"/>
                  </a:lnTo>
                  <a:lnTo>
                    <a:pt x="149" y="59"/>
                  </a:lnTo>
                  <a:lnTo>
                    <a:pt x="142" y="65"/>
                  </a:lnTo>
                  <a:lnTo>
                    <a:pt x="149" y="76"/>
                  </a:lnTo>
                  <a:lnTo>
                    <a:pt x="142" y="76"/>
                  </a:lnTo>
                  <a:lnTo>
                    <a:pt x="140" y="80"/>
                  </a:lnTo>
                  <a:lnTo>
                    <a:pt x="140" y="89"/>
                  </a:lnTo>
                  <a:lnTo>
                    <a:pt x="147" y="111"/>
                  </a:lnTo>
                  <a:lnTo>
                    <a:pt x="147" y="130"/>
                  </a:lnTo>
                  <a:lnTo>
                    <a:pt x="153" y="139"/>
                  </a:lnTo>
                  <a:lnTo>
                    <a:pt x="147" y="139"/>
                  </a:lnTo>
                  <a:lnTo>
                    <a:pt x="147" y="149"/>
                  </a:lnTo>
                  <a:lnTo>
                    <a:pt x="138" y="154"/>
                  </a:lnTo>
                  <a:lnTo>
                    <a:pt x="140" y="143"/>
                  </a:lnTo>
                  <a:lnTo>
                    <a:pt x="134" y="139"/>
                  </a:lnTo>
                  <a:lnTo>
                    <a:pt x="134" y="147"/>
                  </a:lnTo>
                  <a:lnTo>
                    <a:pt x="134" y="149"/>
                  </a:lnTo>
                  <a:lnTo>
                    <a:pt x="132" y="147"/>
                  </a:lnTo>
                  <a:lnTo>
                    <a:pt x="129" y="149"/>
                  </a:lnTo>
                  <a:lnTo>
                    <a:pt x="129" y="158"/>
                  </a:lnTo>
                  <a:lnTo>
                    <a:pt x="125" y="165"/>
                  </a:lnTo>
                  <a:lnTo>
                    <a:pt x="119" y="154"/>
                  </a:lnTo>
                  <a:lnTo>
                    <a:pt x="114" y="154"/>
                  </a:lnTo>
                  <a:lnTo>
                    <a:pt x="114" y="165"/>
                  </a:lnTo>
                  <a:lnTo>
                    <a:pt x="108" y="162"/>
                  </a:lnTo>
                  <a:lnTo>
                    <a:pt x="99" y="169"/>
                  </a:lnTo>
                  <a:lnTo>
                    <a:pt x="99" y="162"/>
                  </a:lnTo>
                  <a:lnTo>
                    <a:pt x="91" y="162"/>
                  </a:lnTo>
                  <a:lnTo>
                    <a:pt x="91" y="154"/>
                  </a:lnTo>
                  <a:lnTo>
                    <a:pt x="88" y="154"/>
                  </a:lnTo>
                  <a:lnTo>
                    <a:pt x="88" y="165"/>
                  </a:lnTo>
                  <a:lnTo>
                    <a:pt x="95" y="169"/>
                  </a:lnTo>
                  <a:lnTo>
                    <a:pt x="95" y="173"/>
                  </a:lnTo>
                  <a:lnTo>
                    <a:pt x="84" y="177"/>
                  </a:lnTo>
                  <a:lnTo>
                    <a:pt x="82" y="19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1" name="Freeform 114"/>
            <p:cNvSpPr>
              <a:spLocks noChangeAspect="1"/>
            </p:cNvSpPr>
            <p:nvPr/>
          </p:nvSpPr>
          <p:spPr bwMode="auto">
            <a:xfrm>
              <a:off x="4999" y="1759"/>
              <a:ext cx="95" cy="106"/>
            </a:xfrm>
            <a:custGeom>
              <a:avLst/>
              <a:gdLst>
                <a:gd name="T0" fmla="*/ 113 w 86"/>
                <a:gd name="T1" fmla="*/ 151 h 104"/>
                <a:gd name="T2" fmla="*/ 92 w 86"/>
                <a:gd name="T3" fmla="*/ 143 h 104"/>
                <a:gd name="T4" fmla="*/ 92 w 86"/>
                <a:gd name="T5" fmla="*/ 131 h 104"/>
                <a:gd name="T6" fmla="*/ 0 w 86"/>
                <a:gd name="T7" fmla="*/ 124 h 104"/>
                <a:gd name="T8" fmla="*/ 0 w 86"/>
                <a:gd name="T9" fmla="*/ 114 h 104"/>
                <a:gd name="T10" fmla="*/ 56 w 86"/>
                <a:gd name="T11" fmla="*/ 92 h 104"/>
                <a:gd name="T12" fmla="*/ 0 w 86"/>
                <a:gd name="T13" fmla="*/ 76 h 104"/>
                <a:gd name="T14" fmla="*/ 4 w 86"/>
                <a:gd name="T15" fmla="*/ 74 h 104"/>
                <a:gd name="T16" fmla="*/ 92 w 86"/>
                <a:gd name="T17" fmla="*/ 76 h 104"/>
                <a:gd name="T18" fmla="*/ 168 w 86"/>
                <a:gd name="T19" fmla="*/ 76 h 104"/>
                <a:gd name="T20" fmla="*/ 125 w 86"/>
                <a:gd name="T21" fmla="*/ 65 h 104"/>
                <a:gd name="T22" fmla="*/ 168 w 86"/>
                <a:gd name="T23" fmla="*/ 65 h 104"/>
                <a:gd name="T24" fmla="*/ 125 w 86"/>
                <a:gd name="T25" fmla="*/ 52 h 104"/>
                <a:gd name="T26" fmla="*/ 113 w 86"/>
                <a:gd name="T27" fmla="*/ 15 h 104"/>
                <a:gd name="T28" fmla="*/ 56 w 86"/>
                <a:gd name="T29" fmla="*/ 2 h 104"/>
                <a:gd name="T30" fmla="*/ 92 w 86"/>
                <a:gd name="T31" fmla="*/ 0 h 104"/>
                <a:gd name="T32" fmla="*/ 168 w 86"/>
                <a:gd name="T33" fmla="*/ 7 h 104"/>
                <a:gd name="T34" fmla="*/ 293 w 86"/>
                <a:gd name="T35" fmla="*/ 22 h 104"/>
                <a:gd name="T36" fmla="*/ 429 w 86"/>
                <a:gd name="T37" fmla="*/ 50 h 104"/>
                <a:gd name="T38" fmla="*/ 498 w 86"/>
                <a:gd name="T39" fmla="*/ 50 h 104"/>
                <a:gd name="T40" fmla="*/ 524 w 86"/>
                <a:gd name="T41" fmla="*/ 57 h 104"/>
                <a:gd name="T42" fmla="*/ 608 w 86"/>
                <a:gd name="T43" fmla="*/ 57 h 104"/>
                <a:gd name="T44" fmla="*/ 627 w 86"/>
                <a:gd name="T45" fmla="*/ 24 h 104"/>
                <a:gd name="T46" fmla="*/ 655 w 86"/>
                <a:gd name="T47" fmla="*/ 46 h 104"/>
                <a:gd name="T48" fmla="*/ 655 w 86"/>
                <a:gd name="T49" fmla="*/ 59 h 104"/>
                <a:gd name="T50" fmla="*/ 695 w 86"/>
                <a:gd name="T51" fmla="*/ 70 h 104"/>
                <a:gd name="T52" fmla="*/ 759 w 86"/>
                <a:gd name="T53" fmla="*/ 70 h 104"/>
                <a:gd name="T54" fmla="*/ 759 w 86"/>
                <a:gd name="T55" fmla="*/ 70 h 104"/>
                <a:gd name="T56" fmla="*/ 695 w 86"/>
                <a:gd name="T57" fmla="*/ 74 h 104"/>
                <a:gd name="T58" fmla="*/ 655 w 86"/>
                <a:gd name="T59" fmla="*/ 76 h 104"/>
                <a:gd name="T60" fmla="*/ 569 w 86"/>
                <a:gd name="T61" fmla="*/ 82 h 104"/>
                <a:gd name="T62" fmla="*/ 510 w 86"/>
                <a:gd name="T63" fmla="*/ 92 h 104"/>
                <a:gd name="T64" fmla="*/ 510 w 86"/>
                <a:gd name="T65" fmla="*/ 120 h 104"/>
                <a:gd name="T66" fmla="*/ 510 w 86"/>
                <a:gd name="T67" fmla="*/ 124 h 104"/>
                <a:gd name="T68" fmla="*/ 293 w 86"/>
                <a:gd name="T69" fmla="*/ 114 h 104"/>
                <a:gd name="T70" fmla="*/ 226 w 86"/>
                <a:gd name="T71" fmla="*/ 104 h 104"/>
                <a:gd name="T72" fmla="*/ 186 w 86"/>
                <a:gd name="T73" fmla="*/ 114 h 104"/>
                <a:gd name="T74" fmla="*/ 168 w 86"/>
                <a:gd name="T75" fmla="*/ 122 h 104"/>
                <a:gd name="T76" fmla="*/ 125 w 86"/>
                <a:gd name="T77" fmla="*/ 114 h 104"/>
                <a:gd name="T78" fmla="*/ 92 w 86"/>
                <a:gd name="T79" fmla="*/ 120 h 104"/>
                <a:gd name="T80" fmla="*/ 92 w 86"/>
                <a:gd name="T81" fmla="*/ 122 h 104"/>
                <a:gd name="T82" fmla="*/ 168 w 86"/>
                <a:gd name="T83" fmla="*/ 124 h 104"/>
                <a:gd name="T84" fmla="*/ 186 w 86"/>
                <a:gd name="T85" fmla="*/ 131 h 104"/>
                <a:gd name="T86" fmla="*/ 226 w 86"/>
                <a:gd name="T87" fmla="*/ 131 h 104"/>
                <a:gd name="T88" fmla="*/ 186 w 86"/>
                <a:gd name="T89" fmla="*/ 137 h 104"/>
                <a:gd name="T90" fmla="*/ 168 w 86"/>
                <a:gd name="T91" fmla="*/ 137 h 104"/>
                <a:gd name="T92" fmla="*/ 125 w 86"/>
                <a:gd name="T93" fmla="*/ 151 h 104"/>
                <a:gd name="T94" fmla="*/ 113 w 86"/>
                <a:gd name="T95" fmla="*/ 151 h 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6"/>
                <a:gd name="T145" fmla="*/ 0 h 104"/>
                <a:gd name="T146" fmla="*/ 86 w 86"/>
                <a:gd name="T147" fmla="*/ 104 h 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6" h="104">
                  <a:moveTo>
                    <a:pt x="13" y="104"/>
                  </a:moveTo>
                  <a:lnTo>
                    <a:pt x="11" y="99"/>
                  </a:lnTo>
                  <a:lnTo>
                    <a:pt x="11" y="91"/>
                  </a:lnTo>
                  <a:lnTo>
                    <a:pt x="0" y="84"/>
                  </a:lnTo>
                  <a:lnTo>
                    <a:pt x="0" y="76"/>
                  </a:lnTo>
                  <a:lnTo>
                    <a:pt x="6" y="65"/>
                  </a:lnTo>
                  <a:lnTo>
                    <a:pt x="0" y="56"/>
                  </a:lnTo>
                  <a:lnTo>
                    <a:pt x="4" y="54"/>
                  </a:lnTo>
                  <a:lnTo>
                    <a:pt x="11" y="56"/>
                  </a:lnTo>
                  <a:lnTo>
                    <a:pt x="19" y="56"/>
                  </a:lnTo>
                  <a:lnTo>
                    <a:pt x="15" y="45"/>
                  </a:lnTo>
                  <a:lnTo>
                    <a:pt x="19" y="45"/>
                  </a:lnTo>
                  <a:lnTo>
                    <a:pt x="15" y="32"/>
                  </a:lnTo>
                  <a:lnTo>
                    <a:pt x="13" y="15"/>
                  </a:lnTo>
                  <a:lnTo>
                    <a:pt x="6" y="2"/>
                  </a:lnTo>
                  <a:lnTo>
                    <a:pt x="11" y="0"/>
                  </a:lnTo>
                  <a:lnTo>
                    <a:pt x="19" y="7"/>
                  </a:lnTo>
                  <a:lnTo>
                    <a:pt x="34" y="22"/>
                  </a:lnTo>
                  <a:lnTo>
                    <a:pt x="49" y="30"/>
                  </a:lnTo>
                  <a:lnTo>
                    <a:pt x="56" y="30"/>
                  </a:lnTo>
                  <a:lnTo>
                    <a:pt x="60" y="37"/>
                  </a:lnTo>
                  <a:lnTo>
                    <a:pt x="69" y="37"/>
                  </a:lnTo>
                  <a:lnTo>
                    <a:pt x="71" y="24"/>
                  </a:lnTo>
                  <a:lnTo>
                    <a:pt x="75" y="26"/>
                  </a:lnTo>
                  <a:lnTo>
                    <a:pt x="75" y="39"/>
                  </a:lnTo>
                  <a:lnTo>
                    <a:pt x="80" y="50"/>
                  </a:lnTo>
                  <a:lnTo>
                    <a:pt x="86" y="50"/>
                  </a:lnTo>
                  <a:lnTo>
                    <a:pt x="80" y="54"/>
                  </a:lnTo>
                  <a:lnTo>
                    <a:pt x="75" y="56"/>
                  </a:lnTo>
                  <a:lnTo>
                    <a:pt x="65" y="60"/>
                  </a:lnTo>
                  <a:lnTo>
                    <a:pt x="58" y="65"/>
                  </a:lnTo>
                  <a:lnTo>
                    <a:pt x="58" y="80"/>
                  </a:lnTo>
                  <a:lnTo>
                    <a:pt x="58" y="84"/>
                  </a:lnTo>
                  <a:lnTo>
                    <a:pt x="34" y="76"/>
                  </a:lnTo>
                  <a:lnTo>
                    <a:pt x="26" y="71"/>
                  </a:lnTo>
                  <a:lnTo>
                    <a:pt x="21" y="76"/>
                  </a:lnTo>
                  <a:lnTo>
                    <a:pt x="19" y="82"/>
                  </a:lnTo>
                  <a:lnTo>
                    <a:pt x="15" y="76"/>
                  </a:lnTo>
                  <a:lnTo>
                    <a:pt x="11" y="80"/>
                  </a:lnTo>
                  <a:lnTo>
                    <a:pt x="11" y="82"/>
                  </a:lnTo>
                  <a:lnTo>
                    <a:pt x="19" y="84"/>
                  </a:lnTo>
                  <a:lnTo>
                    <a:pt x="21" y="91"/>
                  </a:lnTo>
                  <a:lnTo>
                    <a:pt x="26" y="91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5" y="104"/>
                  </a:lnTo>
                  <a:lnTo>
                    <a:pt x="13" y="10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2" name="Freeform 115"/>
            <p:cNvSpPr>
              <a:spLocks noChangeAspect="1"/>
            </p:cNvSpPr>
            <p:nvPr/>
          </p:nvSpPr>
          <p:spPr bwMode="auto">
            <a:xfrm>
              <a:off x="4870" y="2205"/>
              <a:ext cx="10" cy="15"/>
            </a:xfrm>
            <a:custGeom>
              <a:avLst/>
              <a:gdLst>
                <a:gd name="T0" fmla="*/ 0 w 9"/>
                <a:gd name="T1" fmla="*/ 15 h 15"/>
                <a:gd name="T2" fmla="*/ 0 w 9"/>
                <a:gd name="T3" fmla="*/ 11 h 15"/>
                <a:gd name="T4" fmla="*/ 2 w 9"/>
                <a:gd name="T5" fmla="*/ 7 h 15"/>
                <a:gd name="T6" fmla="*/ 2 w 9"/>
                <a:gd name="T7" fmla="*/ 2 h 15"/>
                <a:gd name="T8" fmla="*/ 57 w 9"/>
                <a:gd name="T9" fmla="*/ 2 h 15"/>
                <a:gd name="T10" fmla="*/ 70 w 9"/>
                <a:gd name="T11" fmla="*/ 0 h 15"/>
                <a:gd name="T12" fmla="*/ 2 w 9"/>
                <a:gd name="T13" fmla="*/ 11 h 15"/>
                <a:gd name="T14" fmla="*/ 57 w 9"/>
                <a:gd name="T15" fmla="*/ 15 h 15"/>
                <a:gd name="T16" fmla="*/ 0 w 9"/>
                <a:gd name="T17" fmla="*/ 15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5"/>
                <a:gd name="T29" fmla="*/ 9 w 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5">
                  <a:moveTo>
                    <a:pt x="0" y="15"/>
                  </a:moveTo>
                  <a:lnTo>
                    <a:pt x="0" y="11"/>
                  </a:lnTo>
                  <a:lnTo>
                    <a:pt x="2" y="7"/>
                  </a:lnTo>
                  <a:lnTo>
                    <a:pt x="2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2" y="11"/>
                  </a:lnTo>
                  <a:lnTo>
                    <a:pt x="7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3" name="Freeform 116"/>
            <p:cNvSpPr>
              <a:spLocks noChangeAspect="1"/>
            </p:cNvSpPr>
            <p:nvPr/>
          </p:nvSpPr>
          <p:spPr bwMode="auto">
            <a:xfrm>
              <a:off x="4890" y="2170"/>
              <a:ext cx="11" cy="7"/>
            </a:xfrm>
            <a:custGeom>
              <a:avLst/>
              <a:gdLst>
                <a:gd name="T0" fmla="*/ 4 w 10"/>
                <a:gd name="T1" fmla="*/ 122 h 6"/>
                <a:gd name="T2" fmla="*/ 0 w 10"/>
                <a:gd name="T3" fmla="*/ 90 h 6"/>
                <a:gd name="T4" fmla="*/ 76 w 10"/>
                <a:gd name="T5" fmla="*/ 0 h 6"/>
                <a:gd name="T6" fmla="*/ 63 w 10"/>
                <a:gd name="T7" fmla="*/ 90 h 6"/>
                <a:gd name="T8" fmla="*/ 4 w 10"/>
                <a:gd name="T9" fmla="*/ 12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6"/>
                <a:gd name="T17" fmla="*/ 10 w 10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6">
                  <a:moveTo>
                    <a:pt x="4" y="6"/>
                  </a:moveTo>
                  <a:lnTo>
                    <a:pt x="0" y="4"/>
                  </a:lnTo>
                  <a:lnTo>
                    <a:pt x="10" y="0"/>
                  </a:lnTo>
                  <a:lnTo>
                    <a:pt x="8" y="4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4" name="Freeform 117"/>
            <p:cNvSpPr>
              <a:spLocks noChangeAspect="1"/>
            </p:cNvSpPr>
            <p:nvPr/>
          </p:nvSpPr>
          <p:spPr bwMode="auto">
            <a:xfrm>
              <a:off x="3221" y="2106"/>
              <a:ext cx="76" cy="78"/>
            </a:xfrm>
            <a:custGeom>
              <a:avLst/>
              <a:gdLst>
                <a:gd name="T0" fmla="*/ 55 w 69"/>
                <a:gd name="T1" fmla="*/ 15 h 76"/>
                <a:gd name="T2" fmla="*/ 120 w 69"/>
                <a:gd name="T3" fmla="*/ 15 h 76"/>
                <a:gd name="T4" fmla="*/ 160 w 69"/>
                <a:gd name="T5" fmla="*/ 40 h 76"/>
                <a:gd name="T6" fmla="*/ 176 w 69"/>
                <a:gd name="T7" fmla="*/ 40 h 76"/>
                <a:gd name="T8" fmla="*/ 227 w 69"/>
                <a:gd name="T9" fmla="*/ 40 h 76"/>
                <a:gd name="T10" fmla="*/ 348 w 69"/>
                <a:gd name="T11" fmla="*/ 11 h 76"/>
                <a:gd name="T12" fmla="*/ 465 w 69"/>
                <a:gd name="T13" fmla="*/ 0 h 76"/>
                <a:gd name="T14" fmla="*/ 563 w 69"/>
                <a:gd name="T15" fmla="*/ 42 h 76"/>
                <a:gd name="T16" fmla="*/ 458 w 69"/>
                <a:gd name="T17" fmla="*/ 48 h 76"/>
                <a:gd name="T18" fmla="*/ 275 w 69"/>
                <a:gd name="T19" fmla="*/ 52 h 76"/>
                <a:gd name="T20" fmla="*/ 275 w 69"/>
                <a:gd name="T21" fmla="*/ 55 h 76"/>
                <a:gd name="T22" fmla="*/ 405 w 69"/>
                <a:gd name="T23" fmla="*/ 82 h 76"/>
                <a:gd name="T24" fmla="*/ 368 w 69"/>
                <a:gd name="T25" fmla="*/ 90 h 76"/>
                <a:gd name="T26" fmla="*/ 348 w 69"/>
                <a:gd name="T27" fmla="*/ 103 h 76"/>
                <a:gd name="T28" fmla="*/ 287 w 69"/>
                <a:gd name="T29" fmla="*/ 109 h 76"/>
                <a:gd name="T30" fmla="*/ 275 w 69"/>
                <a:gd name="T31" fmla="*/ 109 h 76"/>
                <a:gd name="T32" fmla="*/ 176 w 69"/>
                <a:gd name="T33" fmla="*/ 126 h 76"/>
                <a:gd name="T34" fmla="*/ 0 w 69"/>
                <a:gd name="T35" fmla="*/ 121 h 76"/>
                <a:gd name="T36" fmla="*/ 55 w 69"/>
                <a:gd name="T37" fmla="*/ 112 h 76"/>
                <a:gd name="T38" fmla="*/ 55 w 69"/>
                <a:gd name="T39" fmla="*/ 90 h 76"/>
                <a:gd name="T40" fmla="*/ 55 w 69"/>
                <a:gd name="T41" fmla="*/ 68 h 76"/>
                <a:gd name="T42" fmla="*/ 55 w 69"/>
                <a:gd name="T43" fmla="*/ 50 h 76"/>
                <a:gd name="T44" fmla="*/ 4 w 69"/>
                <a:gd name="T45" fmla="*/ 44 h 76"/>
                <a:gd name="T46" fmla="*/ 4 w 69"/>
                <a:gd name="T47" fmla="*/ 40 h 76"/>
                <a:gd name="T48" fmla="*/ 55 w 69"/>
                <a:gd name="T49" fmla="*/ 40 h 76"/>
                <a:gd name="T50" fmla="*/ 55 w 69"/>
                <a:gd name="T51" fmla="*/ 15 h 7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9"/>
                <a:gd name="T79" fmla="*/ 0 h 76"/>
                <a:gd name="T80" fmla="*/ 69 w 69"/>
                <a:gd name="T81" fmla="*/ 76 h 7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9" h="76">
                  <a:moveTo>
                    <a:pt x="6" y="15"/>
                  </a:moveTo>
                  <a:lnTo>
                    <a:pt x="15" y="15"/>
                  </a:lnTo>
                  <a:lnTo>
                    <a:pt x="19" y="20"/>
                  </a:lnTo>
                  <a:lnTo>
                    <a:pt x="21" y="20"/>
                  </a:lnTo>
                  <a:lnTo>
                    <a:pt x="28" y="20"/>
                  </a:lnTo>
                  <a:lnTo>
                    <a:pt x="43" y="11"/>
                  </a:lnTo>
                  <a:lnTo>
                    <a:pt x="58" y="0"/>
                  </a:lnTo>
                  <a:lnTo>
                    <a:pt x="69" y="22"/>
                  </a:lnTo>
                  <a:lnTo>
                    <a:pt x="56" y="28"/>
                  </a:lnTo>
                  <a:lnTo>
                    <a:pt x="34" y="32"/>
                  </a:lnTo>
                  <a:lnTo>
                    <a:pt x="34" y="35"/>
                  </a:lnTo>
                  <a:lnTo>
                    <a:pt x="49" y="50"/>
                  </a:lnTo>
                  <a:lnTo>
                    <a:pt x="45" y="54"/>
                  </a:lnTo>
                  <a:lnTo>
                    <a:pt x="43" y="61"/>
                  </a:lnTo>
                  <a:lnTo>
                    <a:pt x="36" y="65"/>
                  </a:lnTo>
                  <a:lnTo>
                    <a:pt x="34" y="65"/>
                  </a:lnTo>
                  <a:lnTo>
                    <a:pt x="21" y="76"/>
                  </a:lnTo>
                  <a:lnTo>
                    <a:pt x="0" y="73"/>
                  </a:lnTo>
                  <a:lnTo>
                    <a:pt x="6" y="67"/>
                  </a:lnTo>
                  <a:lnTo>
                    <a:pt x="6" y="54"/>
                  </a:lnTo>
                  <a:lnTo>
                    <a:pt x="6" y="43"/>
                  </a:lnTo>
                  <a:lnTo>
                    <a:pt x="6" y="30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1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5" name="Freeform 118"/>
            <p:cNvSpPr>
              <a:spLocks noChangeAspect="1"/>
            </p:cNvSpPr>
            <p:nvPr/>
          </p:nvSpPr>
          <p:spPr bwMode="auto">
            <a:xfrm>
              <a:off x="4445" y="2440"/>
              <a:ext cx="93" cy="75"/>
            </a:xfrm>
            <a:custGeom>
              <a:avLst/>
              <a:gdLst>
                <a:gd name="T0" fmla="*/ 415 w 84"/>
                <a:gd name="T1" fmla="*/ 7 h 74"/>
                <a:gd name="T2" fmla="*/ 415 w 84"/>
                <a:gd name="T3" fmla="*/ 11 h 74"/>
                <a:gd name="T4" fmla="*/ 482 w 84"/>
                <a:gd name="T5" fmla="*/ 11 h 74"/>
                <a:gd name="T6" fmla="*/ 517 w 84"/>
                <a:gd name="T7" fmla="*/ 15 h 74"/>
                <a:gd name="T8" fmla="*/ 534 w 84"/>
                <a:gd name="T9" fmla="*/ 11 h 74"/>
                <a:gd name="T10" fmla="*/ 534 w 84"/>
                <a:gd name="T11" fmla="*/ 5 h 74"/>
                <a:gd name="T12" fmla="*/ 597 w 84"/>
                <a:gd name="T13" fmla="*/ 0 h 74"/>
                <a:gd name="T14" fmla="*/ 654 w 84"/>
                <a:gd name="T15" fmla="*/ 7 h 74"/>
                <a:gd name="T16" fmla="*/ 732 w 84"/>
                <a:gd name="T17" fmla="*/ 7 h 74"/>
                <a:gd name="T18" fmla="*/ 732 w 84"/>
                <a:gd name="T19" fmla="*/ 11 h 74"/>
                <a:gd name="T20" fmla="*/ 763 w 84"/>
                <a:gd name="T21" fmla="*/ 26 h 74"/>
                <a:gd name="T22" fmla="*/ 763 w 84"/>
                <a:gd name="T23" fmla="*/ 59 h 74"/>
                <a:gd name="T24" fmla="*/ 701 w 84"/>
                <a:gd name="T25" fmla="*/ 63 h 74"/>
                <a:gd name="T26" fmla="*/ 654 w 84"/>
                <a:gd name="T27" fmla="*/ 66 h 74"/>
                <a:gd name="T28" fmla="*/ 570 w 84"/>
                <a:gd name="T29" fmla="*/ 70 h 74"/>
                <a:gd name="T30" fmla="*/ 517 w 84"/>
                <a:gd name="T31" fmla="*/ 70 h 74"/>
                <a:gd name="T32" fmla="*/ 534 w 84"/>
                <a:gd name="T33" fmla="*/ 78 h 74"/>
                <a:gd name="T34" fmla="*/ 534 w 84"/>
                <a:gd name="T35" fmla="*/ 83 h 74"/>
                <a:gd name="T36" fmla="*/ 440 w 84"/>
                <a:gd name="T37" fmla="*/ 85 h 74"/>
                <a:gd name="T38" fmla="*/ 311 w 84"/>
                <a:gd name="T39" fmla="*/ 94 h 74"/>
                <a:gd name="T40" fmla="*/ 249 w 84"/>
                <a:gd name="T41" fmla="*/ 89 h 74"/>
                <a:gd name="T42" fmla="*/ 216 w 84"/>
                <a:gd name="T43" fmla="*/ 89 h 74"/>
                <a:gd name="T44" fmla="*/ 216 w 84"/>
                <a:gd name="T45" fmla="*/ 83 h 74"/>
                <a:gd name="T46" fmla="*/ 203 w 84"/>
                <a:gd name="T47" fmla="*/ 81 h 74"/>
                <a:gd name="T48" fmla="*/ 176 w 84"/>
                <a:gd name="T49" fmla="*/ 83 h 74"/>
                <a:gd name="T50" fmla="*/ 96 w 84"/>
                <a:gd name="T51" fmla="*/ 78 h 74"/>
                <a:gd name="T52" fmla="*/ 96 w 84"/>
                <a:gd name="T53" fmla="*/ 70 h 74"/>
                <a:gd name="T54" fmla="*/ 4 w 84"/>
                <a:gd name="T55" fmla="*/ 35 h 74"/>
                <a:gd name="T56" fmla="*/ 0 w 84"/>
                <a:gd name="T57" fmla="*/ 24 h 74"/>
                <a:gd name="T58" fmla="*/ 79 w 84"/>
                <a:gd name="T59" fmla="*/ 20 h 74"/>
                <a:gd name="T60" fmla="*/ 79 w 84"/>
                <a:gd name="T61" fmla="*/ 7 h 74"/>
                <a:gd name="T62" fmla="*/ 203 w 84"/>
                <a:gd name="T63" fmla="*/ 5 h 74"/>
                <a:gd name="T64" fmla="*/ 311 w 84"/>
                <a:gd name="T65" fmla="*/ 7 h 74"/>
                <a:gd name="T66" fmla="*/ 311 w 84"/>
                <a:gd name="T67" fmla="*/ 5 h 74"/>
                <a:gd name="T68" fmla="*/ 384 w 84"/>
                <a:gd name="T69" fmla="*/ 7 h 74"/>
                <a:gd name="T70" fmla="*/ 415 w 84"/>
                <a:gd name="T71" fmla="*/ 7 h 7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74"/>
                <a:gd name="T110" fmla="*/ 84 w 84"/>
                <a:gd name="T111" fmla="*/ 74 h 7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74">
                  <a:moveTo>
                    <a:pt x="45" y="7"/>
                  </a:moveTo>
                  <a:lnTo>
                    <a:pt x="45" y="11"/>
                  </a:lnTo>
                  <a:lnTo>
                    <a:pt x="54" y="11"/>
                  </a:lnTo>
                  <a:lnTo>
                    <a:pt x="58" y="15"/>
                  </a:lnTo>
                  <a:lnTo>
                    <a:pt x="60" y="11"/>
                  </a:lnTo>
                  <a:lnTo>
                    <a:pt x="60" y="5"/>
                  </a:lnTo>
                  <a:lnTo>
                    <a:pt x="67" y="0"/>
                  </a:lnTo>
                  <a:lnTo>
                    <a:pt x="73" y="7"/>
                  </a:lnTo>
                  <a:lnTo>
                    <a:pt x="82" y="7"/>
                  </a:lnTo>
                  <a:lnTo>
                    <a:pt x="82" y="11"/>
                  </a:lnTo>
                  <a:lnTo>
                    <a:pt x="84" y="26"/>
                  </a:lnTo>
                  <a:lnTo>
                    <a:pt x="84" y="39"/>
                  </a:lnTo>
                  <a:lnTo>
                    <a:pt x="78" y="43"/>
                  </a:lnTo>
                  <a:lnTo>
                    <a:pt x="73" y="46"/>
                  </a:lnTo>
                  <a:lnTo>
                    <a:pt x="63" y="50"/>
                  </a:lnTo>
                  <a:lnTo>
                    <a:pt x="58" y="50"/>
                  </a:lnTo>
                  <a:lnTo>
                    <a:pt x="60" y="58"/>
                  </a:lnTo>
                  <a:lnTo>
                    <a:pt x="60" y="63"/>
                  </a:lnTo>
                  <a:lnTo>
                    <a:pt x="50" y="65"/>
                  </a:lnTo>
                  <a:lnTo>
                    <a:pt x="35" y="74"/>
                  </a:lnTo>
                  <a:lnTo>
                    <a:pt x="28" y="69"/>
                  </a:lnTo>
                  <a:lnTo>
                    <a:pt x="24" y="69"/>
                  </a:lnTo>
                  <a:lnTo>
                    <a:pt x="24" y="63"/>
                  </a:lnTo>
                  <a:lnTo>
                    <a:pt x="22" y="61"/>
                  </a:lnTo>
                  <a:lnTo>
                    <a:pt x="19" y="63"/>
                  </a:lnTo>
                  <a:lnTo>
                    <a:pt x="11" y="58"/>
                  </a:lnTo>
                  <a:lnTo>
                    <a:pt x="11" y="50"/>
                  </a:lnTo>
                  <a:lnTo>
                    <a:pt x="4" y="35"/>
                  </a:lnTo>
                  <a:lnTo>
                    <a:pt x="0" y="24"/>
                  </a:lnTo>
                  <a:lnTo>
                    <a:pt x="9" y="20"/>
                  </a:lnTo>
                  <a:lnTo>
                    <a:pt x="9" y="7"/>
                  </a:lnTo>
                  <a:lnTo>
                    <a:pt x="22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43" y="7"/>
                  </a:lnTo>
                  <a:lnTo>
                    <a:pt x="45" y="7"/>
                  </a:lnTo>
                  <a:close/>
                </a:path>
              </a:pathLst>
            </a:custGeom>
            <a:solidFill>
              <a:srgbClr val="0070C0"/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6" name="Freeform 119"/>
            <p:cNvSpPr>
              <a:spLocks noChangeAspect="1"/>
            </p:cNvSpPr>
            <p:nvPr/>
          </p:nvSpPr>
          <p:spPr bwMode="auto">
            <a:xfrm>
              <a:off x="3507" y="2241"/>
              <a:ext cx="10" cy="28"/>
            </a:xfrm>
            <a:custGeom>
              <a:avLst/>
              <a:gdLst>
                <a:gd name="T0" fmla="*/ 2 w 10"/>
                <a:gd name="T1" fmla="*/ 24 h 28"/>
                <a:gd name="T2" fmla="*/ 0 w 10"/>
                <a:gd name="T3" fmla="*/ 8 h 28"/>
                <a:gd name="T4" fmla="*/ 2 w 10"/>
                <a:gd name="T5" fmla="*/ 6 h 28"/>
                <a:gd name="T6" fmla="*/ 4 w 10"/>
                <a:gd name="T7" fmla="*/ 0 h 28"/>
                <a:gd name="T8" fmla="*/ 10 w 10"/>
                <a:gd name="T9" fmla="*/ 6 h 28"/>
                <a:gd name="T10" fmla="*/ 10 w 10"/>
                <a:gd name="T11" fmla="*/ 15 h 28"/>
                <a:gd name="T12" fmla="*/ 10 w 10"/>
                <a:gd name="T13" fmla="*/ 24 h 28"/>
                <a:gd name="T14" fmla="*/ 8 w 10"/>
                <a:gd name="T15" fmla="*/ 28 h 28"/>
                <a:gd name="T16" fmla="*/ 4 w 10"/>
                <a:gd name="T17" fmla="*/ 24 h 28"/>
                <a:gd name="T18" fmla="*/ 2 w 10"/>
                <a:gd name="T19" fmla="*/ 24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28"/>
                <a:gd name="T32" fmla="*/ 10 w 10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28">
                  <a:moveTo>
                    <a:pt x="2" y="24"/>
                  </a:moveTo>
                  <a:lnTo>
                    <a:pt x="0" y="8"/>
                  </a:lnTo>
                  <a:lnTo>
                    <a:pt x="2" y="6"/>
                  </a:lnTo>
                  <a:lnTo>
                    <a:pt x="4" y="0"/>
                  </a:lnTo>
                  <a:lnTo>
                    <a:pt x="10" y="6"/>
                  </a:lnTo>
                  <a:lnTo>
                    <a:pt x="10" y="15"/>
                  </a:lnTo>
                  <a:lnTo>
                    <a:pt x="10" y="24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2" y="24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7" name="Freeform 120"/>
            <p:cNvSpPr>
              <a:spLocks noChangeAspect="1"/>
            </p:cNvSpPr>
            <p:nvPr/>
          </p:nvSpPr>
          <p:spPr bwMode="auto">
            <a:xfrm>
              <a:off x="4746" y="1843"/>
              <a:ext cx="93" cy="129"/>
            </a:xfrm>
            <a:custGeom>
              <a:avLst/>
              <a:gdLst>
                <a:gd name="T0" fmla="*/ 763 w 84"/>
                <a:gd name="T1" fmla="*/ 9 h 127"/>
                <a:gd name="T2" fmla="*/ 763 w 84"/>
                <a:gd name="T3" fmla="*/ 13 h 127"/>
                <a:gd name="T4" fmla="*/ 721 w 84"/>
                <a:gd name="T5" fmla="*/ 15 h 127"/>
                <a:gd name="T6" fmla="*/ 701 w 84"/>
                <a:gd name="T7" fmla="*/ 24 h 127"/>
                <a:gd name="T8" fmla="*/ 654 w 84"/>
                <a:gd name="T9" fmla="*/ 57 h 127"/>
                <a:gd name="T10" fmla="*/ 701 w 84"/>
                <a:gd name="T11" fmla="*/ 57 h 127"/>
                <a:gd name="T12" fmla="*/ 721 w 84"/>
                <a:gd name="T13" fmla="*/ 70 h 127"/>
                <a:gd name="T14" fmla="*/ 654 w 84"/>
                <a:gd name="T15" fmla="*/ 74 h 127"/>
                <a:gd name="T16" fmla="*/ 654 w 84"/>
                <a:gd name="T17" fmla="*/ 78 h 127"/>
                <a:gd name="T18" fmla="*/ 577 w 84"/>
                <a:gd name="T19" fmla="*/ 85 h 127"/>
                <a:gd name="T20" fmla="*/ 577 w 84"/>
                <a:gd name="T21" fmla="*/ 89 h 127"/>
                <a:gd name="T22" fmla="*/ 517 w 84"/>
                <a:gd name="T23" fmla="*/ 89 h 127"/>
                <a:gd name="T24" fmla="*/ 482 w 84"/>
                <a:gd name="T25" fmla="*/ 104 h 127"/>
                <a:gd name="T26" fmla="*/ 482 w 84"/>
                <a:gd name="T27" fmla="*/ 116 h 127"/>
                <a:gd name="T28" fmla="*/ 440 w 84"/>
                <a:gd name="T29" fmla="*/ 116 h 127"/>
                <a:gd name="T30" fmla="*/ 517 w 84"/>
                <a:gd name="T31" fmla="*/ 130 h 127"/>
                <a:gd name="T32" fmla="*/ 629 w 84"/>
                <a:gd name="T33" fmla="*/ 142 h 127"/>
                <a:gd name="T34" fmla="*/ 654 w 84"/>
                <a:gd name="T35" fmla="*/ 142 h 127"/>
                <a:gd name="T36" fmla="*/ 654 w 84"/>
                <a:gd name="T37" fmla="*/ 148 h 127"/>
                <a:gd name="T38" fmla="*/ 517 w 84"/>
                <a:gd name="T39" fmla="*/ 154 h 127"/>
                <a:gd name="T40" fmla="*/ 440 w 84"/>
                <a:gd name="T41" fmla="*/ 165 h 127"/>
                <a:gd name="T42" fmla="*/ 375 w 84"/>
                <a:gd name="T43" fmla="*/ 171 h 127"/>
                <a:gd name="T44" fmla="*/ 311 w 84"/>
                <a:gd name="T45" fmla="*/ 159 h 127"/>
                <a:gd name="T46" fmla="*/ 311 w 84"/>
                <a:gd name="T47" fmla="*/ 159 h 127"/>
                <a:gd name="T48" fmla="*/ 311 w 84"/>
                <a:gd name="T49" fmla="*/ 171 h 127"/>
                <a:gd name="T50" fmla="*/ 276 w 84"/>
                <a:gd name="T51" fmla="*/ 165 h 127"/>
                <a:gd name="T52" fmla="*/ 216 w 84"/>
                <a:gd name="T53" fmla="*/ 165 h 127"/>
                <a:gd name="T54" fmla="*/ 229 w 84"/>
                <a:gd name="T55" fmla="*/ 157 h 127"/>
                <a:gd name="T56" fmla="*/ 187 w 84"/>
                <a:gd name="T57" fmla="*/ 157 h 127"/>
                <a:gd name="T58" fmla="*/ 203 w 84"/>
                <a:gd name="T59" fmla="*/ 148 h 127"/>
                <a:gd name="T60" fmla="*/ 216 w 84"/>
                <a:gd name="T61" fmla="*/ 144 h 127"/>
                <a:gd name="T62" fmla="*/ 229 w 84"/>
                <a:gd name="T63" fmla="*/ 144 h 127"/>
                <a:gd name="T64" fmla="*/ 203 w 84"/>
                <a:gd name="T65" fmla="*/ 142 h 127"/>
                <a:gd name="T66" fmla="*/ 203 w 84"/>
                <a:gd name="T67" fmla="*/ 130 h 127"/>
                <a:gd name="T68" fmla="*/ 216 w 84"/>
                <a:gd name="T69" fmla="*/ 116 h 127"/>
                <a:gd name="T70" fmla="*/ 203 w 84"/>
                <a:gd name="T71" fmla="*/ 112 h 127"/>
                <a:gd name="T72" fmla="*/ 187 w 84"/>
                <a:gd name="T73" fmla="*/ 112 h 127"/>
                <a:gd name="T74" fmla="*/ 79 w 84"/>
                <a:gd name="T75" fmla="*/ 104 h 127"/>
                <a:gd name="T76" fmla="*/ 79 w 84"/>
                <a:gd name="T77" fmla="*/ 112 h 127"/>
                <a:gd name="T78" fmla="*/ 64 w 84"/>
                <a:gd name="T79" fmla="*/ 112 h 127"/>
                <a:gd name="T80" fmla="*/ 0 w 84"/>
                <a:gd name="T81" fmla="*/ 104 h 127"/>
                <a:gd name="T82" fmla="*/ 64 w 84"/>
                <a:gd name="T83" fmla="*/ 85 h 127"/>
                <a:gd name="T84" fmla="*/ 187 w 84"/>
                <a:gd name="T85" fmla="*/ 74 h 127"/>
                <a:gd name="T86" fmla="*/ 216 w 84"/>
                <a:gd name="T87" fmla="*/ 70 h 127"/>
                <a:gd name="T88" fmla="*/ 229 w 84"/>
                <a:gd name="T89" fmla="*/ 63 h 127"/>
                <a:gd name="T90" fmla="*/ 229 w 84"/>
                <a:gd name="T91" fmla="*/ 55 h 127"/>
                <a:gd name="T92" fmla="*/ 311 w 84"/>
                <a:gd name="T93" fmla="*/ 30 h 127"/>
                <a:gd name="T94" fmla="*/ 344 w 84"/>
                <a:gd name="T95" fmla="*/ 57 h 127"/>
                <a:gd name="T96" fmla="*/ 425 w 84"/>
                <a:gd name="T97" fmla="*/ 57 h 127"/>
                <a:gd name="T98" fmla="*/ 482 w 84"/>
                <a:gd name="T99" fmla="*/ 57 h 127"/>
                <a:gd name="T100" fmla="*/ 440 w 84"/>
                <a:gd name="T101" fmla="*/ 30 h 127"/>
                <a:gd name="T102" fmla="*/ 440 w 84"/>
                <a:gd name="T103" fmla="*/ 28 h 127"/>
                <a:gd name="T104" fmla="*/ 517 w 84"/>
                <a:gd name="T105" fmla="*/ 24 h 127"/>
                <a:gd name="T106" fmla="*/ 570 w 84"/>
                <a:gd name="T107" fmla="*/ 22 h 127"/>
                <a:gd name="T108" fmla="*/ 577 w 84"/>
                <a:gd name="T109" fmla="*/ 15 h 127"/>
                <a:gd name="T110" fmla="*/ 654 w 84"/>
                <a:gd name="T111" fmla="*/ 9 h 127"/>
                <a:gd name="T112" fmla="*/ 654 w 84"/>
                <a:gd name="T113" fmla="*/ 0 h 127"/>
                <a:gd name="T114" fmla="*/ 701 w 84"/>
                <a:gd name="T115" fmla="*/ 4 h 127"/>
                <a:gd name="T116" fmla="*/ 763 w 84"/>
                <a:gd name="T117" fmla="*/ 9 h 12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"/>
                <a:gd name="T178" fmla="*/ 0 h 127"/>
                <a:gd name="T179" fmla="*/ 84 w 84"/>
                <a:gd name="T180" fmla="*/ 127 h 12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" h="127">
                  <a:moveTo>
                    <a:pt x="84" y="9"/>
                  </a:moveTo>
                  <a:lnTo>
                    <a:pt x="84" y="13"/>
                  </a:lnTo>
                  <a:lnTo>
                    <a:pt x="80" y="15"/>
                  </a:lnTo>
                  <a:lnTo>
                    <a:pt x="78" y="24"/>
                  </a:lnTo>
                  <a:lnTo>
                    <a:pt x="73" y="37"/>
                  </a:lnTo>
                  <a:lnTo>
                    <a:pt x="78" y="37"/>
                  </a:lnTo>
                  <a:lnTo>
                    <a:pt x="80" y="50"/>
                  </a:lnTo>
                  <a:lnTo>
                    <a:pt x="73" y="54"/>
                  </a:lnTo>
                  <a:lnTo>
                    <a:pt x="73" y="58"/>
                  </a:lnTo>
                  <a:lnTo>
                    <a:pt x="65" y="65"/>
                  </a:lnTo>
                  <a:lnTo>
                    <a:pt x="65" y="69"/>
                  </a:lnTo>
                  <a:lnTo>
                    <a:pt x="58" y="69"/>
                  </a:lnTo>
                  <a:lnTo>
                    <a:pt x="54" y="80"/>
                  </a:lnTo>
                  <a:lnTo>
                    <a:pt x="54" y="86"/>
                  </a:lnTo>
                  <a:lnTo>
                    <a:pt x="50" y="86"/>
                  </a:lnTo>
                  <a:lnTo>
                    <a:pt x="58" y="93"/>
                  </a:lnTo>
                  <a:lnTo>
                    <a:pt x="69" y="102"/>
                  </a:lnTo>
                  <a:lnTo>
                    <a:pt x="73" y="102"/>
                  </a:lnTo>
                  <a:lnTo>
                    <a:pt x="73" y="108"/>
                  </a:lnTo>
                  <a:lnTo>
                    <a:pt x="58" y="114"/>
                  </a:lnTo>
                  <a:lnTo>
                    <a:pt x="50" y="123"/>
                  </a:lnTo>
                  <a:lnTo>
                    <a:pt x="41" y="127"/>
                  </a:lnTo>
                  <a:lnTo>
                    <a:pt x="35" y="119"/>
                  </a:lnTo>
                  <a:lnTo>
                    <a:pt x="35" y="127"/>
                  </a:lnTo>
                  <a:lnTo>
                    <a:pt x="30" y="123"/>
                  </a:lnTo>
                  <a:lnTo>
                    <a:pt x="24" y="123"/>
                  </a:lnTo>
                  <a:lnTo>
                    <a:pt x="26" y="117"/>
                  </a:lnTo>
                  <a:lnTo>
                    <a:pt x="20" y="117"/>
                  </a:lnTo>
                  <a:lnTo>
                    <a:pt x="22" y="108"/>
                  </a:lnTo>
                  <a:lnTo>
                    <a:pt x="24" y="104"/>
                  </a:lnTo>
                  <a:lnTo>
                    <a:pt x="26" y="104"/>
                  </a:lnTo>
                  <a:lnTo>
                    <a:pt x="22" y="102"/>
                  </a:lnTo>
                  <a:lnTo>
                    <a:pt x="22" y="93"/>
                  </a:lnTo>
                  <a:lnTo>
                    <a:pt x="24" y="86"/>
                  </a:lnTo>
                  <a:lnTo>
                    <a:pt x="22" y="84"/>
                  </a:lnTo>
                  <a:lnTo>
                    <a:pt x="20" y="84"/>
                  </a:lnTo>
                  <a:lnTo>
                    <a:pt x="9" y="80"/>
                  </a:lnTo>
                  <a:lnTo>
                    <a:pt x="9" y="84"/>
                  </a:lnTo>
                  <a:lnTo>
                    <a:pt x="7" y="84"/>
                  </a:lnTo>
                  <a:lnTo>
                    <a:pt x="0" y="80"/>
                  </a:lnTo>
                  <a:lnTo>
                    <a:pt x="7" y="65"/>
                  </a:lnTo>
                  <a:lnTo>
                    <a:pt x="20" y="54"/>
                  </a:lnTo>
                  <a:lnTo>
                    <a:pt x="24" y="50"/>
                  </a:lnTo>
                  <a:lnTo>
                    <a:pt x="26" y="43"/>
                  </a:lnTo>
                  <a:lnTo>
                    <a:pt x="26" y="35"/>
                  </a:lnTo>
                  <a:lnTo>
                    <a:pt x="35" y="30"/>
                  </a:lnTo>
                  <a:lnTo>
                    <a:pt x="39" y="37"/>
                  </a:lnTo>
                  <a:lnTo>
                    <a:pt x="48" y="37"/>
                  </a:lnTo>
                  <a:lnTo>
                    <a:pt x="54" y="37"/>
                  </a:lnTo>
                  <a:lnTo>
                    <a:pt x="50" y="30"/>
                  </a:lnTo>
                  <a:lnTo>
                    <a:pt x="50" y="28"/>
                  </a:lnTo>
                  <a:lnTo>
                    <a:pt x="58" y="24"/>
                  </a:lnTo>
                  <a:lnTo>
                    <a:pt x="63" y="22"/>
                  </a:lnTo>
                  <a:lnTo>
                    <a:pt x="65" y="15"/>
                  </a:lnTo>
                  <a:lnTo>
                    <a:pt x="73" y="9"/>
                  </a:lnTo>
                  <a:lnTo>
                    <a:pt x="73" y="0"/>
                  </a:lnTo>
                  <a:lnTo>
                    <a:pt x="78" y="4"/>
                  </a:lnTo>
                  <a:lnTo>
                    <a:pt x="84" y="9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8" name="Freeform 121"/>
            <p:cNvSpPr>
              <a:spLocks noChangeAspect="1"/>
            </p:cNvSpPr>
            <p:nvPr/>
          </p:nvSpPr>
          <p:spPr bwMode="auto">
            <a:xfrm>
              <a:off x="4796" y="1947"/>
              <a:ext cx="65" cy="98"/>
            </a:xfrm>
            <a:custGeom>
              <a:avLst/>
              <a:gdLst>
                <a:gd name="T0" fmla="*/ 61 w 59"/>
                <a:gd name="T1" fmla="*/ 21 h 97"/>
                <a:gd name="T2" fmla="*/ 109 w 59"/>
                <a:gd name="T3" fmla="*/ 10 h 97"/>
                <a:gd name="T4" fmla="*/ 228 w 59"/>
                <a:gd name="T5" fmla="*/ 6 h 97"/>
                <a:gd name="T6" fmla="*/ 228 w 59"/>
                <a:gd name="T7" fmla="*/ 0 h 97"/>
                <a:gd name="T8" fmla="*/ 358 w 59"/>
                <a:gd name="T9" fmla="*/ 25 h 97"/>
                <a:gd name="T10" fmla="*/ 449 w 59"/>
                <a:gd name="T11" fmla="*/ 41 h 97"/>
                <a:gd name="T12" fmla="*/ 449 w 59"/>
                <a:gd name="T13" fmla="*/ 76 h 97"/>
                <a:gd name="T14" fmla="*/ 478 w 59"/>
                <a:gd name="T15" fmla="*/ 80 h 97"/>
                <a:gd name="T16" fmla="*/ 478 w 59"/>
                <a:gd name="T17" fmla="*/ 91 h 97"/>
                <a:gd name="T18" fmla="*/ 449 w 59"/>
                <a:gd name="T19" fmla="*/ 99 h 97"/>
                <a:gd name="T20" fmla="*/ 386 w 59"/>
                <a:gd name="T21" fmla="*/ 99 h 97"/>
                <a:gd name="T22" fmla="*/ 371 w 59"/>
                <a:gd name="T23" fmla="*/ 99 h 97"/>
                <a:gd name="T24" fmla="*/ 371 w 59"/>
                <a:gd name="T25" fmla="*/ 106 h 97"/>
                <a:gd name="T26" fmla="*/ 318 w 59"/>
                <a:gd name="T27" fmla="*/ 102 h 97"/>
                <a:gd name="T28" fmla="*/ 318 w 59"/>
                <a:gd name="T29" fmla="*/ 99 h 97"/>
                <a:gd name="T30" fmla="*/ 286 w 59"/>
                <a:gd name="T31" fmla="*/ 106 h 97"/>
                <a:gd name="T32" fmla="*/ 286 w 59"/>
                <a:gd name="T33" fmla="*/ 106 h 97"/>
                <a:gd name="T34" fmla="*/ 268 w 59"/>
                <a:gd name="T35" fmla="*/ 106 h 97"/>
                <a:gd name="T36" fmla="*/ 260 w 59"/>
                <a:gd name="T37" fmla="*/ 106 h 97"/>
                <a:gd name="T38" fmla="*/ 268 w 59"/>
                <a:gd name="T39" fmla="*/ 110 h 97"/>
                <a:gd name="T40" fmla="*/ 260 w 59"/>
                <a:gd name="T41" fmla="*/ 114 h 97"/>
                <a:gd name="T42" fmla="*/ 228 w 59"/>
                <a:gd name="T43" fmla="*/ 110 h 97"/>
                <a:gd name="T44" fmla="*/ 194 w 59"/>
                <a:gd name="T45" fmla="*/ 114 h 97"/>
                <a:gd name="T46" fmla="*/ 150 w 59"/>
                <a:gd name="T47" fmla="*/ 117 h 97"/>
                <a:gd name="T48" fmla="*/ 150 w 59"/>
                <a:gd name="T49" fmla="*/ 106 h 97"/>
                <a:gd name="T50" fmla="*/ 123 w 59"/>
                <a:gd name="T51" fmla="*/ 106 h 97"/>
                <a:gd name="T52" fmla="*/ 109 w 59"/>
                <a:gd name="T53" fmla="*/ 95 h 97"/>
                <a:gd name="T54" fmla="*/ 123 w 59"/>
                <a:gd name="T55" fmla="*/ 91 h 97"/>
                <a:gd name="T56" fmla="*/ 109 w 59"/>
                <a:gd name="T57" fmla="*/ 91 h 97"/>
                <a:gd name="T58" fmla="*/ 109 w 59"/>
                <a:gd name="T59" fmla="*/ 86 h 97"/>
                <a:gd name="T60" fmla="*/ 123 w 59"/>
                <a:gd name="T61" fmla="*/ 84 h 97"/>
                <a:gd name="T62" fmla="*/ 123 w 59"/>
                <a:gd name="T63" fmla="*/ 80 h 97"/>
                <a:gd name="T64" fmla="*/ 109 w 59"/>
                <a:gd name="T65" fmla="*/ 76 h 97"/>
                <a:gd name="T66" fmla="*/ 61 w 59"/>
                <a:gd name="T67" fmla="*/ 45 h 97"/>
                <a:gd name="T68" fmla="*/ 41 w 59"/>
                <a:gd name="T69" fmla="*/ 41 h 97"/>
                <a:gd name="T70" fmla="*/ 41 w 59"/>
                <a:gd name="T71" fmla="*/ 41 h 97"/>
                <a:gd name="T72" fmla="*/ 109 w 59"/>
                <a:gd name="T73" fmla="*/ 41 h 97"/>
                <a:gd name="T74" fmla="*/ 74 w 59"/>
                <a:gd name="T75" fmla="*/ 36 h 97"/>
                <a:gd name="T76" fmla="*/ 61 w 59"/>
                <a:gd name="T77" fmla="*/ 32 h 97"/>
                <a:gd name="T78" fmla="*/ 41 w 59"/>
                <a:gd name="T79" fmla="*/ 25 h 97"/>
                <a:gd name="T80" fmla="*/ 0 w 59"/>
                <a:gd name="T81" fmla="*/ 25 h 97"/>
                <a:gd name="T82" fmla="*/ 61 w 59"/>
                <a:gd name="T83" fmla="*/ 25 h 97"/>
                <a:gd name="T84" fmla="*/ 61 w 59"/>
                <a:gd name="T85" fmla="*/ 21 h 9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9"/>
                <a:gd name="T130" fmla="*/ 0 h 97"/>
                <a:gd name="T131" fmla="*/ 59 w 59"/>
                <a:gd name="T132" fmla="*/ 97 h 9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9" h="97">
                  <a:moveTo>
                    <a:pt x="7" y="21"/>
                  </a:moveTo>
                  <a:lnTo>
                    <a:pt x="13" y="10"/>
                  </a:lnTo>
                  <a:lnTo>
                    <a:pt x="28" y="6"/>
                  </a:lnTo>
                  <a:lnTo>
                    <a:pt x="28" y="0"/>
                  </a:lnTo>
                  <a:lnTo>
                    <a:pt x="44" y="25"/>
                  </a:lnTo>
                  <a:lnTo>
                    <a:pt x="54" y="41"/>
                  </a:lnTo>
                  <a:lnTo>
                    <a:pt x="54" y="56"/>
                  </a:lnTo>
                  <a:lnTo>
                    <a:pt x="59" y="60"/>
                  </a:lnTo>
                  <a:lnTo>
                    <a:pt x="59" y="71"/>
                  </a:lnTo>
                  <a:lnTo>
                    <a:pt x="54" y="79"/>
                  </a:lnTo>
                  <a:lnTo>
                    <a:pt x="48" y="79"/>
                  </a:lnTo>
                  <a:lnTo>
                    <a:pt x="46" y="79"/>
                  </a:lnTo>
                  <a:lnTo>
                    <a:pt x="46" y="86"/>
                  </a:lnTo>
                  <a:lnTo>
                    <a:pt x="39" y="82"/>
                  </a:lnTo>
                  <a:lnTo>
                    <a:pt x="39" y="79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3" y="90"/>
                  </a:lnTo>
                  <a:lnTo>
                    <a:pt x="31" y="94"/>
                  </a:lnTo>
                  <a:lnTo>
                    <a:pt x="28" y="90"/>
                  </a:lnTo>
                  <a:lnTo>
                    <a:pt x="24" y="94"/>
                  </a:lnTo>
                  <a:lnTo>
                    <a:pt x="18" y="97"/>
                  </a:lnTo>
                  <a:lnTo>
                    <a:pt x="18" y="86"/>
                  </a:lnTo>
                  <a:lnTo>
                    <a:pt x="16" y="86"/>
                  </a:lnTo>
                  <a:lnTo>
                    <a:pt x="13" y="75"/>
                  </a:lnTo>
                  <a:lnTo>
                    <a:pt x="16" y="71"/>
                  </a:lnTo>
                  <a:lnTo>
                    <a:pt x="13" y="71"/>
                  </a:lnTo>
                  <a:lnTo>
                    <a:pt x="13" y="66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3" y="56"/>
                  </a:lnTo>
                  <a:lnTo>
                    <a:pt x="7" y="45"/>
                  </a:lnTo>
                  <a:lnTo>
                    <a:pt x="5" y="41"/>
                  </a:lnTo>
                  <a:lnTo>
                    <a:pt x="13" y="41"/>
                  </a:lnTo>
                  <a:lnTo>
                    <a:pt x="9" y="36"/>
                  </a:lnTo>
                  <a:lnTo>
                    <a:pt x="7" y="32"/>
                  </a:lnTo>
                  <a:lnTo>
                    <a:pt x="5" y="25"/>
                  </a:lnTo>
                  <a:lnTo>
                    <a:pt x="0" y="25"/>
                  </a:lnTo>
                  <a:lnTo>
                    <a:pt x="7" y="25"/>
                  </a:lnTo>
                  <a:lnTo>
                    <a:pt x="7" y="21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29" name="Freeform 122"/>
            <p:cNvSpPr>
              <a:spLocks noChangeAspect="1"/>
            </p:cNvSpPr>
            <p:nvPr/>
          </p:nvSpPr>
          <p:spPr bwMode="auto">
            <a:xfrm>
              <a:off x="3429" y="2168"/>
              <a:ext cx="27" cy="24"/>
            </a:xfrm>
            <a:custGeom>
              <a:avLst/>
              <a:gdLst>
                <a:gd name="T0" fmla="*/ 0 w 24"/>
                <a:gd name="T1" fmla="*/ 35 h 23"/>
                <a:gd name="T2" fmla="*/ 60 w 24"/>
                <a:gd name="T3" fmla="*/ 8 h 23"/>
                <a:gd name="T4" fmla="*/ 95 w 24"/>
                <a:gd name="T5" fmla="*/ 0 h 23"/>
                <a:gd name="T6" fmla="*/ 192 w 24"/>
                <a:gd name="T7" fmla="*/ 0 h 23"/>
                <a:gd name="T8" fmla="*/ 231 w 24"/>
                <a:gd name="T9" fmla="*/ 4 h 23"/>
                <a:gd name="T10" fmla="*/ 273 w 24"/>
                <a:gd name="T11" fmla="*/ 4 h 23"/>
                <a:gd name="T12" fmla="*/ 273 w 24"/>
                <a:gd name="T13" fmla="*/ 6 h 23"/>
                <a:gd name="T14" fmla="*/ 192 w 24"/>
                <a:gd name="T15" fmla="*/ 8 h 23"/>
                <a:gd name="T16" fmla="*/ 231 w 24"/>
                <a:gd name="T17" fmla="*/ 32 h 23"/>
                <a:gd name="T18" fmla="*/ 293 w 24"/>
                <a:gd name="T19" fmla="*/ 51 h 23"/>
                <a:gd name="T20" fmla="*/ 192 w 24"/>
                <a:gd name="T21" fmla="*/ 51 h 23"/>
                <a:gd name="T22" fmla="*/ 159 w 24"/>
                <a:gd name="T23" fmla="*/ 39 h 23"/>
                <a:gd name="T24" fmla="*/ 0 w 24"/>
                <a:gd name="T25" fmla="*/ 35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"/>
                <a:gd name="T40" fmla="*/ 0 h 23"/>
                <a:gd name="T41" fmla="*/ 24 w 24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" h="23">
                  <a:moveTo>
                    <a:pt x="0" y="15"/>
                  </a:moveTo>
                  <a:lnTo>
                    <a:pt x="5" y="8"/>
                  </a:lnTo>
                  <a:lnTo>
                    <a:pt x="7" y="0"/>
                  </a:lnTo>
                  <a:lnTo>
                    <a:pt x="16" y="0"/>
                  </a:lnTo>
                  <a:lnTo>
                    <a:pt x="18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16" y="8"/>
                  </a:lnTo>
                  <a:lnTo>
                    <a:pt x="18" y="12"/>
                  </a:lnTo>
                  <a:lnTo>
                    <a:pt x="24" y="23"/>
                  </a:lnTo>
                  <a:lnTo>
                    <a:pt x="16" y="23"/>
                  </a:lnTo>
                  <a:lnTo>
                    <a:pt x="13" y="17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0" name="Freeform 123"/>
            <p:cNvSpPr>
              <a:spLocks noChangeAspect="1"/>
            </p:cNvSpPr>
            <p:nvPr/>
          </p:nvSpPr>
          <p:spPr bwMode="auto">
            <a:xfrm>
              <a:off x="4396" y="2300"/>
              <a:ext cx="142" cy="155"/>
            </a:xfrm>
            <a:custGeom>
              <a:avLst/>
              <a:gdLst>
                <a:gd name="T0" fmla="*/ 119 w 129"/>
                <a:gd name="T1" fmla="*/ 22 h 153"/>
                <a:gd name="T2" fmla="*/ 175 w 129"/>
                <a:gd name="T3" fmla="*/ 4 h 153"/>
                <a:gd name="T4" fmla="*/ 242 w 129"/>
                <a:gd name="T5" fmla="*/ 0 h 153"/>
                <a:gd name="T6" fmla="*/ 323 w 129"/>
                <a:gd name="T7" fmla="*/ 9 h 153"/>
                <a:gd name="T8" fmla="*/ 323 w 129"/>
                <a:gd name="T9" fmla="*/ 22 h 153"/>
                <a:gd name="T10" fmla="*/ 543 w 129"/>
                <a:gd name="T11" fmla="*/ 28 h 153"/>
                <a:gd name="T12" fmla="*/ 597 w 129"/>
                <a:gd name="T13" fmla="*/ 35 h 153"/>
                <a:gd name="T14" fmla="*/ 599 w 129"/>
                <a:gd name="T15" fmla="*/ 70 h 153"/>
                <a:gd name="T16" fmla="*/ 512 w 129"/>
                <a:gd name="T17" fmla="*/ 70 h 153"/>
                <a:gd name="T18" fmla="*/ 659 w 129"/>
                <a:gd name="T19" fmla="*/ 87 h 153"/>
                <a:gd name="T20" fmla="*/ 724 w 129"/>
                <a:gd name="T21" fmla="*/ 98 h 153"/>
                <a:gd name="T22" fmla="*/ 846 w 129"/>
                <a:gd name="T23" fmla="*/ 115 h 153"/>
                <a:gd name="T24" fmla="*/ 1008 w 129"/>
                <a:gd name="T25" fmla="*/ 153 h 153"/>
                <a:gd name="T26" fmla="*/ 1034 w 129"/>
                <a:gd name="T27" fmla="*/ 165 h 153"/>
                <a:gd name="T28" fmla="*/ 1034 w 129"/>
                <a:gd name="T29" fmla="*/ 178 h 153"/>
                <a:gd name="T30" fmla="*/ 950 w 129"/>
                <a:gd name="T31" fmla="*/ 183 h 153"/>
                <a:gd name="T32" fmla="*/ 846 w 129"/>
                <a:gd name="T33" fmla="*/ 183 h 153"/>
                <a:gd name="T34" fmla="*/ 832 w 129"/>
                <a:gd name="T35" fmla="*/ 193 h 153"/>
                <a:gd name="T36" fmla="*/ 724 w 129"/>
                <a:gd name="T37" fmla="*/ 189 h 153"/>
                <a:gd name="T38" fmla="*/ 760 w 129"/>
                <a:gd name="T39" fmla="*/ 178 h 153"/>
                <a:gd name="T40" fmla="*/ 760 w 129"/>
                <a:gd name="T41" fmla="*/ 159 h 153"/>
                <a:gd name="T42" fmla="*/ 724 w 129"/>
                <a:gd name="T43" fmla="*/ 153 h 153"/>
                <a:gd name="T44" fmla="*/ 659 w 129"/>
                <a:gd name="T45" fmla="*/ 127 h 153"/>
                <a:gd name="T46" fmla="*/ 635 w 129"/>
                <a:gd name="T47" fmla="*/ 113 h 153"/>
                <a:gd name="T48" fmla="*/ 512 w 129"/>
                <a:gd name="T49" fmla="*/ 93 h 153"/>
                <a:gd name="T50" fmla="*/ 408 w 129"/>
                <a:gd name="T51" fmla="*/ 98 h 153"/>
                <a:gd name="T52" fmla="*/ 323 w 129"/>
                <a:gd name="T53" fmla="*/ 100 h 153"/>
                <a:gd name="T54" fmla="*/ 242 w 129"/>
                <a:gd name="T55" fmla="*/ 100 h 153"/>
                <a:gd name="T56" fmla="*/ 175 w 129"/>
                <a:gd name="T57" fmla="*/ 104 h 153"/>
                <a:gd name="T58" fmla="*/ 134 w 129"/>
                <a:gd name="T59" fmla="*/ 89 h 153"/>
                <a:gd name="T60" fmla="*/ 134 w 129"/>
                <a:gd name="T61" fmla="*/ 74 h 153"/>
                <a:gd name="T62" fmla="*/ 67 w 129"/>
                <a:gd name="T63" fmla="*/ 74 h 153"/>
                <a:gd name="T64" fmla="*/ 67 w 129"/>
                <a:gd name="T65" fmla="*/ 63 h 153"/>
                <a:gd name="T66" fmla="*/ 0 w 129"/>
                <a:gd name="T67" fmla="*/ 59 h 153"/>
                <a:gd name="T68" fmla="*/ 2 w 129"/>
                <a:gd name="T69" fmla="*/ 30 h 153"/>
                <a:gd name="T70" fmla="*/ 55 w 129"/>
                <a:gd name="T71" fmla="*/ 24 h 153"/>
                <a:gd name="T72" fmla="*/ 119 w 129"/>
                <a:gd name="T73" fmla="*/ 19 h 1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153"/>
                <a:gd name="T113" fmla="*/ 129 w 129"/>
                <a:gd name="T114" fmla="*/ 153 h 15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153">
                  <a:moveTo>
                    <a:pt x="15" y="19"/>
                  </a:moveTo>
                  <a:lnTo>
                    <a:pt x="15" y="22"/>
                  </a:lnTo>
                  <a:lnTo>
                    <a:pt x="23" y="22"/>
                  </a:lnTo>
                  <a:lnTo>
                    <a:pt x="21" y="4"/>
                  </a:lnTo>
                  <a:lnTo>
                    <a:pt x="23" y="0"/>
                  </a:lnTo>
                  <a:lnTo>
                    <a:pt x="30" y="0"/>
                  </a:lnTo>
                  <a:lnTo>
                    <a:pt x="34" y="7"/>
                  </a:lnTo>
                  <a:lnTo>
                    <a:pt x="41" y="9"/>
                  </a:lnTo>
                  <a:lnTo>
                    <a:pt x="41" y="13"/>
                  </a:lnTo>
                  <a:lnTo>
                    <a:pt x="41" y="22"/>
                  </a:lnTo>
                  <a:lnTo>
                    <a:pt x="54" y="28"/>
                  </a:lnTo>
                  <a:lnTo>
                    <a:pt x="67" y="28"/>
                  </a:lnTo>
                  <a:lnTo>
                    <a:pt x="71" y="35"/>
                  </a:lnTo>
                  <a:lnTo>
                    <a:pt x="73" y="35"/>
                  </a:lnTo>
                  <a:lnTo>
                    <a:pt x="75" y="39"/>
                  </a:lnTo>
                  <a:lnTo>
                    <a:pt x="75" y="50"/>
                  </a:lnTo>
                  <a:lnTo>
                    <a:pt x="71" y="50"/>
                  </a:lnTo>
                  <a:lnTo>
                    <a:pt x="64" y="50"/>
                  </a:lnTo>
                  <a:lnTo>
                    <a:pt x="64" y="54"/>
                  </a:lnTo>
                  <a:lnTo>
                    <a:pt x="82" y="67"/>
                  </a:lnTo>
                  <a:lnTo>
                    <a:pt x="86" y="69"/>
                  </a:lnTo>
                  <a:lnTo>
                    <a:pt x="90" y="78"/>
                  </a:lnTo>
                  <a:lnTo>
                    <a:pt x="97" y="84"/>
                  </a:lnTo>
                  <a:lnTo>
                    <a:pt x="105" y="95"/>
                  </a:lnTo>
                  <a:lnTo>
                    <a:pt x="114" y="104"/>
                  </a:lnTo>
                  <a:lnTo>
                    <a:pt x="125" y="114"/>
                  </a:lnTo>
                  <a:lnTo>
                    <a:pt x="125" y="125"/>
                  </a:lnTo>
                  <a:lnTo>
                    <a:pt x="129" y="125"/>
                  </a:lnTo>
                  <a:lnTo>
                    <a:pt x="129" y="132"/>
                  </a:lnTo>
                  <a:lnTo>
                    <a:pt x="129" y="138"/>
                  </a:lnTo>
                  <a:lnTo>
                    <a:pt x="129" y="143"/>
                  </a:lnTo>
                  <a:lnTo>
                    <a:pt x="118" y="143"/>
                  </a:lnTo>
                  <a:lnTo>
                    <a:pt x="114" y="138"/>
                  </a:lnTo>
                  <a:lnTo>
                    <a:pt x="105" y="143"/>
                  </a:lnTo>
                  <a:lnTo>
                    <a:pt x="105" y="149"/>
                  </a:lnTo>
                  <a:lnTo>
                    <a:pt x="103" y="153"/>
                  </a:lnTo>
                  <a:lnTo>
                    <a:pt x="101" y="149"/>
                  </a:lnTo>
                  <a:lnTo>
                    <a:pt x="90" y="149"/>
                  </a:lnTo>
                  <a:lnTo>
                    <a:pt x="90" y="143"/>
                  </a:lnTo>
                  <a:lnTo>
                    <a:pt x="95" y="138"/>
                  </a:lnTo>
                  <a:lnTo>
                    <a:pt x="95" y="125"/>
                  </a:lnTo>
                  <a:lnTo>
                    <a:pt x="95" y="119"/>
                  </a:lnTo>
                  <a:lnTo>
                    <a:pt x="90" y="117"/>
                  </a:lnTo>
                  <a:lnTo>
                    <a:pt x="90" y="114"/>
                  </a:lnTo>
                  <a:lnTo>
                    <a:pt x="86" y="110"/>
                  </a:lnTo>
                  <a:lnTo>
                    <a:pt x="82" y="101"/>
                  </a:lnTo>
                  <a:lnTo>
                    <a:pt x="80" y="95"/>
                  </a:lnTo>
                  <a:lnTo>
                    <a:pt x="80" y="93"/>
                  </a:lnTo>
                  <a:lnTo>
                    <a:pt x="71" y="80"/>
                  </a:lnTo>
                  <a:lnTo>
                    <a:pt x="64" y="73"/>
                  </a:lnTo>
                  <a:lnTo>
                    <a:pt x="54" y="69"/>
                  </a:lnTo>
                  <a:lnTo>
                    <a:pt x="51" y="78"/>
                  </a:lnTo>
                  <a:lnTo>
                    <a:pt x="45" y="78"/>
                  </a:lnTo>
                  <a:lnTo>
                    <a:pt x="41" y="80"/>
                  </a:lnTo>
                  <a:lnTo>
                    <a:pt x="36" y="73"/>
                  </a:lnTo>
                  <a:lnTo>
                    <a:pt x="30" y="80"/>
                  </a:lnTo>
                  <a:lnTo>
                    <a:pt x="26" y="80"/>
                  </a:lnTo>
                  <a:lnTo>
                    <a:pt x="21" y="84"/>
                  </a:lnTo>
                  <a:lnTo>
                    <a:pt x="17" y="82"/>
                  </a:lnTo>
                  <a:lnTo>
                    <a:pt x="17" y="69"/>
                  </a:lnTo>
                  <a:lnTo>
                    <a:pt x="21" y="58"/>
                  </a:lnTo>
                  <a:lnTo>
                    <a:pt x="17" y="54"/>
                  </a:lnTo>
                  <a:lnTo>
                    <a:pt x="15" y="50"/>
                  </a:lnTo>
                  <a:lnTo>
                    <a:pt x="8" y="54"/>
                  </a:lnTo>
                  <a:lnTo>
                    <a:pt x="6" y="50"/>
                  </a:lnTo>
                  <a:lnTo>
                    <a:pt x="8" y="43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35"/>
                  </a:lnTo>
                  <a:lnTo>
                    <a:pt x="2" y="30"/>
                  </a:lnTo>
                  <a:lnTo>
                    <a:pt x="8" y="28"/>
                  </a:lnTo>
                  <a:lnTo>
                    <a:pt x="6" y="24"/>
                  </a:lnTo>
                  <a:lnTo>
                    <a:pt x="8" y="22"/>
                  </a:lnTo>
                  <a:lnTo>
                    <a:pt x="15" y="1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1" name="Freeform 124"/>
            <p:cNvSpPr>
              <a:spLocks noChangeAspect="1"/>
            </p:cNvSpPr>
            <p:nvPr/>
          </p:nvSpPr>
          <p:spPr bwMode="auto">
            <a:xfrm>
              <a:off x="3221" y="2080"/>
              <a:ext cx="23" cy="33"/>
            </a:xfrm>
            <a:custGeom>
              <a:avLst/>
              <a:gdLst>
                <a:gd name="T0" fmla="*/ 71 w 21"/>
                <a:gd name="T1" fmla="*/ 5 h 33"/>
                <a:gd name="T2" fmla="*/ 151 w 21"/>
                <a:gd name="T3" fmla="*/ 0 h 33"/>
                <a:gd name="T4" fmla="*/ 151 w 21"/>
                <a:gd name="T5" fmla="*/ 7 h 33"/>
                <a:gd name="T6" fmla="*/ 151 w 21"/>
                <a:gd name="T7" fmla="*/ 13 h 33"/>
                <a:gd name="T8" fmla="*/ 112 w 21"/>
                <a:gd name="T9" fmla="*/ 20 h 33"/>
                <a:gd name="T10" fmla="*/ 112 w 21"/>
                <a:gd name="T11" fmla="*/ 22 h 33"/>
                <a:gd name="T12" fmla="*/ 71 w 21"/>
                <a:gd name="T13" fmla="*/ 30 h 33"/>
                <a:gd name="T14" fmla="*/ 49 w 21"/>
                <a:gd name="T15" fmla="*/ 30 h 33"/>
                <a:gd name="T16" fmla="*/ 49 w 21"/>
                <a:gd name="T17" fmla="*/ 33 h 33"/>
                <a:gd name="T18" fmla="*/ 0 w 21"/>
                <a:gd name="T19" fmla="*/ 33 h 33"/>
                <a:gd name="T20" fmla="*/ 0 w 21"/>
                <a:gd name="T21" fmla="*/ 26 h 33"/>
                <a:gd name="T22" fmla="*/ 4 w 21"/>
                <a:gd name="T23" fmla="*/ 20 h 33"/>
                <a:gd name="T24" fmla="*/ 49 w 21"/>
                <a:gd name="T25" fmla="*/ 11 h 33"/>
                <a:gd name="T26" fmla="*/ 71 w 21"/>
                <a:gd name="T27" fmla="*/ 5 h 3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33"/>
                <a:gd name="T44" fmla="*/ 21 w 21"/>
                <a:gd name="T45" fmla="*/ 33 h 3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33">
                  <a:moveTo>
                    <a:pt x="10" y="5"/>
                  </a:moveTo>
                  <a:lnTo>
                    <a:pt x="21" y="0"/>
                  </a:lnTo>
                  <a:lnTo>
                    <a:pt x="21" y="7"/>
                  </a:lnTo>
                  <a:lnTo>
                    <a:pt x="21" y="13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0" y="30"/>
                  </a:lnTo>
                  <a:lnTo>
                    <a:pt x="6" y="30"/>
                  </a:lnTo>
                  <a:lnTo>
                    <a:pt x="6" y="33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4" y="20"/>
                  </a:lnTo>
                  <a:lnTo>
                    <a:pt x="6" y="11"/>
                  </a:lnTo>
                  <a:lnTo>
                    <a:pt x="10" y="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2" name="Freeform 125"/>
            <p:cNvSpPr>
              <a:spLocks noChangeAspect="1"/>
            </p:cNvSpPr>
            <p:nvPr/>
          </p:nvSpPr>
          <p:spPr bwMode="auto">
            <a:xfrm>
              <a:off x="4412" y="2580"/>
              <a:ext cx="74" cy="91"/>
            </a:xfrm>
            <a:custGeom>
              <a:avLst/>
              <a:gdLst>
                <a:gd name="T0" fmla="*/ 0 w 67"/>
                <a:gd name="T1" fmla="*/ 3 h 89"/>
                <a:gd name="T2" fmla="*/ 2 w 67"/>
                <a:gd name="T3" fmla="*/ 0 h 89"/>
                <a:gd name="T4" fmla="*/ 125 w 67"/>
                <a:gd name="T5" fmla="*/ 7 h 89"/>
                <a:gd name="T6" fmla="*/ 92 w 67"/>
                <a:gd name="T7" fmla="*/ 15 h 89"/>
                <a:gd name="T8" fmla="*/ 168 w 67"/>
                <a:gd name="T9" fmla="*/ 15 h 89"/>
                <a:gd name="T10" fmla="*/ 186 w 67"/>
                <a:gd name="T11" fmla="*/ 7 h 89"/>
                <a:gd name="T12" fmla="*/ 205 w 67"/>
                <a:gd name="T13" fmla="*/ 11 h 89"/>
                <a:gd name="T14" fmla="*/ 226 w 67"/>
                <a:gd name="T15" fmla="*/ 7 h 89"/>
                <a:gd name="T16" fmla="*/ 262 w 67"/>
                <a:gd name="T17" fmla="*/ 7 h 89"/>
                <a:gd name="T18" fmla="*/ 454 w 67"/>
                <a:gd name="T19" fmla="*/ 53 h 89"/>
                <a:gd name="T20" fmla="*/ 454 w 67"/>
                <a:gd name="T21" fmla="*/ 69 h 89"/>
                <a:gd name="T22" fmla="*/ 475 w 67"/>
                <a:gd name="T23" fmla="*/ 91 h 89"/>
                <a:gd name="T24" fmla="*/ 475 w 67"/>
                <a:gd name="T25" fmla="*/ 103 h 89"/>
                <a:gd name="T26" fmla="*/ 515 w 67"/>
                <a:gd name="T27" fmla="*/ 107 h 89"/>
                <a:gd name="T28" fmla="*/ 579 w 67"/>
                <a:gd name="T29" fmla="*/ 137 h 89"/>
                <a:gd name="T30" fmla="*/ 564 w 67"/>
                <a:gd name="T31" fmla="*/ 127 h 89"/>
                <a:gd name="T32" fmla="*/ 475 w 67"/>
                <a:gd name="T33" fmla="*/ 134 h 89"/>
                <a:gd name="T34" fmla="*/ 475 w 67"/>
                <a:gd name="T35" fmla="*/ 137 h 89"/>
                <a:gd name="T36" fmla="*/ 388 w 67"/>
                <a:gd name="T37" fmla="*/ 124 h 89"/>
                <a:gd name="T38" fmla="*/ 289 w 67"/>
                <a:gd name="T39" fmla="*/ 115 h 89"/>
                <a:gd name="T40" fmla="*/ 186 w 67"/>
                <a:gd name="T41" fmla="*/ 95 h 89"/>
                <a:gd name="T42" fmla="*/ 168 w 67"/>
                <a:gd name="T43" fmla="*/ 85 h 89"/>
                <a:gd name="T44" fmla="*/ 68 w 67"/>
                <a:gd name="T45" fmla="*/ 66 h 89"/>
                <a:gd name="T46" fmla="*/ 68 w 67"/>
                <a:gd name="T47" fmla="*/ 61 h 89"/>
                <a:gd name="T48" fmla="*/ 68 w 67"/>
                <a:gd name="T49" fmla="*/ 51 h 89"/>
                <a:gd name="T50" fmla="*/ 56 w 67"/>
                <a:gd name="T51" fmla="*/ 48 h 89"/>
                <a:gd name="T52" fmla="*/ 2 w 67"/>
                <a:gd name="T53" fmla="*/ 15 h 89"/>
                <a:gd name="T54" fmla="*/ 0 w 67"/>
                <a:gd name="T55" fmla="*/ 3 h 8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7"/>
                <a:gd name="T85" fmla="*/ 0 h 89"/>
                <a:gd name="T86" fmla="*/ 67 w 67"/>
                <a:gd name="T87" fmla="*/ 89 h 8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7" h="89">
                  <a:moveTo>
                    <a:pt x="0" y="3"/>
                  </a:moveTo>
                  <a:lnTo>
                    <a:pt x="2" y="0"/>
                  </a:lnTo>
                  <a:lnTo>
                    <a:pt x="15" y="7"/>
                  </a:lnTo>
                  <a:lnTo>
                    <a:pt x="11" y="15"/>
                  </a:lnTo>
                  <a:lnTo>
                    <a:pt x="19" y="15"/>
                  </a:lnTo>
                  <a:lnTo>
                    <a:pt x="21" y="7"/>
                  </a:lnTo>
                  <a:lnTo>
                    <a:pt x="24" y="11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56" y="59"/>
                  </a:lnTo>
                  <a:lnTo>
                    <a:pt x="56" y="65"/>
                  </a:lnTo>
                  <a:lnTo>
                    <a:pt x="60" y="67"/>
                  </a:lnTo>
                  <a:lnTo>
                    <a:pt x="67" y="89"/>
                  </a:lnTo>
                  <a:lnTo>
                    <a:pt x="65" y="82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45" y="80"/>
                  </a:lnTo>
                  <a:lnTo>
                    <a:pt x="34" y="74"/>
                  </a:lnTo>
                  <a:lnTo>
                    <a:pt x="21" y="61"/>
                  </a:lnTo>
                  <a:lnTo>
                    <a:pt x="19" y="56"/>
                  </a:lnTo>
                  <a:lnTo>
                    <a:pt x="8" y="46"/>
                  </a:lnTo>
                  <a:lnTo>
                    <a:pt x="8" y="41"/>
                  </a:lnTo>
                  <a:lnTo>
                    <a:pt x="8" y="31"/>
                  </a:lnTo>
                  <a:lnTo>
                    <a:pt x="6" y="28"/>
                  </a:lnTo>
                  <a:lnTo>
                    <a:pt x="2" y="1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3" name="Freeform 126"/>
            <p:cNvSpPr>
              <a:spLocks noChangeAspect="1"/>
            </p:cNvSpPr>
            <p:nvPr/>
          </p:nvSpPr>
          <p:spPr bwMode="auto">
            <a:xfrm>
              <a:off x="4067" y="1663"/>
              <a:ext cx="558" cy="239"/>
            </a:xfrm>
            <a:custGeom>
              <a:avLst/>
              <a:gdLst>
                <a:gd name="T0" fmla="*/ 1182 w 507"/>
                <a:gd name="T1" fmla="*/ 0 h 235"/>
                <a:gd name="T2" fmla="*/ 1737 w 507"/>
                <a:gd name="T3" fmla="*/ 57 h 235"/>
                <a:gd name="T4" fmla="*/ 2081 w 507"/>
                <a:gd name="T5" fmla="*/ 26 h 235"/>
                <a:gd name="T6" fmla="*/ 2389 w 507"/>
                <a:gd name="T7" fmla="*/ 59 h 235"/>
                <a:gd name="T8" fmla="*/ 2508 w 507"/>
                <a:gd name="T9" fmla="*/ 72 h 235"/>
                <a:gd name="T10" fmla="*/ 2770 w 507"/>
                <a:gd name="T11" fmla="*/ 72 h 235"/>
                <a:gd name="T12" fmla="*/ 3087 w 507"/>
                <a:gd name="T13" fmla="*/ 17 h 235"/>
                <a:gd name="T14" fmla="*/ 3458 w 507"/>
                <a:gd name="T15" fmla="*/ 26 h 235"/>
                <a:gd name="T16" fmla="*/ 3458 w 507"/>
                <a:gd name="T17" fmla="*/ 80 h 235"/>
                <a:gd name="T18" fmla="*/ 3424 w 507"/>
                <a:gd name="T19" fmla="*/ 93 h 235"/>
                <a:gd name="T20" fmla="*/ 3528 w 507"/>
                <a:gd name="T21" fmla="*/ 103 h 235"/>
                <a:gd name="T22" fmla="*/ 3644 w 507"/>
                <a:gd name="T23" fmla="*/ 111 h 235"/>
                <a:gd name="T24" fmla="*/ 3764 w 507"/>
                <a:gd name="T25" fmla="*/ 87 h 235"/>
                <a:gd name="T26" fmla="*/ 3941 w 507"/>
                <a:gd name="T27" fmla="*/ 115 h 235"/>
                <a:gd name="T28" fmla="*/ 4045 w 507"/>
                <a:gd name="T29" fmla="*/ 137 h 235"/>
                <a:gd name="T30" fmla="*/ 3918 w 507"/>
                <a:gd name="T31" fmla="*/ 137 h 235"/>
                <a:gd name="T32" fmla="*/ 3764 w 507"/>
                <a:gd name="T33" fmla="*/ 151 h 235"/>
                <a:gd name="T34" fmla="*/ 3735 w 507"/>
                <a:gd name="T35" fmla="*/ 157 h 235"/>
                <a:gd name="T36" fmla="*/ 3697 w 507"/>
                <a:gd name="T37" fmla="*/ 154 h 235"/>
                <a:gd name="T38" fmla="*/ 3622 w 507"/>
                <a:gd name="T39" fmla="*/ 165 h 235"/>
                <a:gd name="T40" fmla="*/ 3528 w 507"/>
                <a:gd name="T41" fmla="*/ 190 h 235"/>
                <a:gd name="T42" fmla="*/ 3424 w 507"/>
                <a:gd name="T43" fmla="*/ 210 h 235"/>
                <a:gd name="T44" fmla="*/ 3302 w 507"/>
                <a:gd name="T45" fmla="*/ 212 h 235"/>
                <a:gd name="T46" fmla="*/ 3144 w 507"/>
                <a:gd name="T47" fmla="*/ 210 h 235"/>
                <a:gd name="T48" fmla="*/ 3132 w 507"/>
                <a:gd name="T49" fmla="*/ 230 h 235"/>
                <a:gd name="T50" fmla="*/ 3183 w 507"/>
                <a:gd name="T51" fmla="*/ 256 h 235"/>
                <a:gd name="T52" fmla="*/ 3084 w 507"/>
                <a:gd name="T53" fmla="*/ 282 h 235"/>
                <a:gd name="T54" fmla="*/ 2972 w 507"/>
                <a:gd name="T55" fmla="*/ 301 h 235"/>
                <a:gd name="T56" fmla="*/ 2455 w 507"/>
                <a:gd name="T57" fmla="*/ 327 h 235"/>
                <a:gd name="T58" fmla="*/ 2334 w 507"/>
                <a:gd name="T59" fmla="*/ 322 h 235"/>
                <a:gd name="T60" fmla="*/ 2027 w 507"/>
                <a:gd name="T61" fmla="*/ 315 h 235"/>
                <a:gd name="T62" fmla="*/ 1790 w 507"/>
                <a:gd name="T63" fmla="*/ 303 h 235"/>
                <a:gd name="T64" fmla="*/ 1506 w 507"/>
                <a:gd name="T65" fmla="*/ 308 h 235"/>
                <a:gd name="T66" fmla="*/ 1342 w 507"/>
                <a:gd name="T67" fmla="*/ 315 h 235"/>
                <a:gd name="T68" fmla="*/ 1182 w 507"/>
                <a:gd name="T69" fmla="*/ 271 h 235"/>
                <a:gd name="T70" fmla="*/ 1117 w 507"/>
                <a:gd name="T71" fmla="*/ 264 h 235"/>
                <a:gd name="T72" fmla="*/ 877 w 507"/>
                <a:gd name="T73" fmla="*/ 244 h 235"/>
                <a:gd name="T74" fmla="*/ 628 w 507"/>
                <a:gd name="T75" fmla="*/ 239 h 235"/>
                <a:gd name="T76" fmla="*/ 472 w 507"/>
                <a:gd name="T77" fmla="*/ 218 h 235"/>
                <a:gd name="T78" fmla="*/ 472 w 507"/>
                <a:gd name="T79" fmla="*/ 204 h 235"/>
                <a:gd name="T80" fmla="*/ 412 w 507"/>
                <a:gd name="T81" fmla="*/ 168 h 235"/>
                <a:gd name="T82" fmla="*/ 288 w 507"/>
                <a:gd name="T83" fmla="*/ 154 h 235"/>
                <a:gd name="T84" fmla="*/ 238 w 507"/>
                <a:gd name="T85" fmla="*/ 144 h 235"/>
                <a:gd name="T86" fmla="*/ 119 w 507"/>
                <a:gd name="T87" fmla="*/ 142 h 235"/>
                <a:gd name="T88" fmla="*/ 45 w 507"/>
                <a:gd name="T89" fmla="*/ 135 h 235"/>
                <a:gd name="T90" fmla="*/ 0 w 507"/>
                <a:gd name="T91" fmla="*/ 115 h 235"/>
                <a:gd name="T92" fmla="*/ 200 w 507"/>
                <a:gd name="T93" fmla="*/ 87 h 235"/>
                <a:gd name="T94" fmla="*/ 266 w 507"/>
                <a:gd name="T95" fmla="*/ 72 h 235"/>
                <a:gd name="T96" fmla="*/ 354 w 507"/>
                <a:gd name="T97" fmla="*/ 61 h 235"/>
                <a:gd name="T98" fmla="*/ 562 w 507"/>
                <a:gd name="T99" fmla="*/ 65 h 235"/>
                <a:gd name="T100" fmla="*/ 721 w 507"/>
                <a:gd name="T101" fmla="*/ 72 h 235"/>
                <a:gd name="T102" fmla="*/ 999 w 507"/>
                <a:gd name="T103" fmla="*/ 74 h 235"/>
                <a:gd name="T104" fmla="*/ 1182 w 507"/>
                <a:gd name="T105" fmla="*/ 61 h 235"/>
                <a:gd name="T106" fmla="*/ 1099 w 507"/>
                <a:gd name="T107" fmla="*/ 17 h 235"/>
                <a:gd name="T108" fmla="*/ 1182 w 507"/>
                <a:gd name="T109" fmla="*/ 7 h 2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07"/>
                <a:gd name="T166" fmla="*/ 0 h 235"/>
                <a:gd name="T167" fmla="*/ 507 w 507"/>
                <a:gd name="T168" fmla="*/ 235 h 2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07" h="235">
                  <a:moveTo>
                    <a:pt x="149" y="7"/>
                  </a:moveTo>
                  <a:lnTo>
                    <a:pt x="149" y="0"/>
                  </a:lnTo>
                  <a:lnTo>
                    <a:pt x="196" y="11"/>
                  </a:lnTo>
                  <a:lnTo>
                    <a:pt x="218" y="37"/>
                  </a:lnTo>
                  <a:lnTo>
                    <a:pt x="233" y="37"/>
                  </a:lnTo>
                  <a:lnTo>
                    <a:pt x="261" y="26"/>
                  </a:lnTo>
                  <a:lnTo>
                    <a:pt x="274" y="30"/>
                  </a:lnTo>
                  <a:lnTo>
                    <a:pt x="300" y="39"/>
                  </a:lnTo>
                  <a:lnTo>
                    <a:pt x="304" y="45"/>
                  </a:lnTo>
                  <a:lnTo>
                    <a:pt x="315" y="52"/>
                  </a:lnTo>
                  <a:lnTo>
                    <a:pt x="324" y="52"/>
                  </a:lnTo>
                  <a:lnTo>
                    <a:pt x="347" y="52"/>
                  </a:lnTo>
                  <a:lnTo>
                    <a:pt x="380" y="39"/>
                  </a:lnTo>
                  <a:lnTo>
                    <a:pt x="388" y="17"/>
                  </a:lnTo>
                  <a:lnTo>
                    <a:pt x="416" y="26"/>
                  </a:lnTo>
                  <a:lnTo>
                    <a:pt x="434" y="26"/>
                  </a:lnTo>
                  <a:lnTo>
                    <a:pt x="434" y="37"/>
                  </a:lnTo>
                  <a:lnTo>
                    <a:pt x="434" y="60"/>
                  </a:lnTo>
                  <a:lnTo>
                    <a:pt x="434" y="67"/>
                  </a:lnTo>
                  <a:lnTo>
                    <a:pt x="429" y="71"/>
                  </a:lnTo>
                  <a:lnTo>
                    <a:pt x="438" y="80"/>
                  </a:lnTo>
                  <a:lnTo>
                    <a:pt x="442" y="76"/>
                  </a:lnTo>
                  <a:lnTo>
                    <a:pt x="451" y="76"/>
                  </a:lnTo>
                  <a:lnTo>
                    <a:pt x="457" y="80"/>
                  </a:lnTo>
                  <a:lnTo>
                    <a:pt x="464" y="71"/>
                  </a:lnTo>
                  <a:lnTo>
                    <a:pt x="472" y="67"/>
                  </a:lnTo>
                  <a:lnTo>
                    <a:pt x="481" y="71"/>
                  </a:lnTo>
                  <a:lnTo>
                    <a:pt x="494" y="82"/>
                  </a:lnTo>
                  <a:lnTo>
                    <a:pt x="498" y="86"/>
                  </a:lnTo>
                  <a:lnTo>
                    <a:pt x="507" y="97"/>
                  </a:lnTo>
                  <a:lnTo>
                    <a:pt x="503" y="102"/>
                  </a:lnTo>
                  <a:lnTo>
                    <a:pt x="492" y="97"/>
                  </a:lnTo>
                  <a:lnTo>
                    <a:pt x="479" y="102"/>
                  </a:lnTo>
                  <a:lnTo>
                    <a:pt x="472" y="110"/>
                  </a:lnTo>
                  <a:lnTo>
                    <a:pt x="468" y="110"/>
                  </a:lnTo>
                  <a:lnTo>
                    <a:pt x="468" y="114"/>
                  </a:lnTo>
                  <a:lnTo>
                    <a:pt x="466" y="114"/>
                  </a:lnTo>
                  <a:lnTo>
                    <a:pt x="464" y="112"/>
                  </a:lnTo>
                  <a:lnTo>
                    <a:pt x="460" y="112"/>
                  </a:lnTo>
                  <a:lnTo>
                    <a:pt x="453" y="119"/>
                  </a:lnTo>
                  <a:lnTo>
                    <a:pt x="453" y="125"/>
                  </a:lnTo>
                  <a:lnTo>
                    <a:pt x="442" y="136"/>
                  </a:lnTo>
                  <a:lnTo>
                    <a:pt x="434" y="136"/>
                  </a:lnTo>
                  <a:lnTo>
                    <a:pt x="429" y="149"/>
                  </a:lnTo>
                  <a:lnTo>
                    <a:pt x="427" y="151"/>
                  </a:lnTo>
                  <a:lnTo>
                    <a:pt x="414" y="151"/>
                  </a:lnTo>
                  <a:lnTo>
                    <a:pt x="401" y="151"/>
                  </a:lnTo>
                  <a:lnTo>
                    <a:pt x="395" y="149"/>
                  </a:lnTo>
                  <a:lnTo>
                    <a:pt x="393" y="155"/>
                  </a:lnTo>
                  <a:lnTo>
                    <a:pt x="393" y="164"/>
                  </a:lnTo>
                  <a:lnTo>
                    <a:pt x="399" y="171"/>
                  </a:lnTo>
                  <a:lnTo>
                    <a:pt x="399" y="184"/>
                  </a:lnTo>
                  <a:lnTo>
                    <a:pt x="388" y="190"/>
                  </a:lnTo>
                  <a:lnTo>
                    <a:pt x="386" y="201"/>
                  </a:lnTo>
                  <a:lnTo>
                    <a:pt x="380" y="207"/>
                  </a:lnTo>
                  <a:lnTo>
                    <a:pt x="373" y="214"/>
                  </a:lnTo>
                  <a:lnTo>
                    <a:pt x="328" y="220"/>
                  </a:lnTo>
                  <a:lnTo>
                    <a:pt x="308" y="235"/>
                  </a:lnTo>
                  <a:lnTo>
                    <a:pt x="300" y="235"/>
                  </a:lnTo>
                  <a:lnTo>
                    <a:pt x="293" y="231"/>
                  </a:lnTo>
                  <a:lnTo>
                    <a:pt x="285" y="231"/>
                  </a:lnTo>
                  <a:lnTo>
                    <a:pt x="255" y="225"/>
                  </a:lnTo>
                  <a:lnTo>
                    <a:pt x="248" y="216"/>
                  </a:lnTo>
                  <a:lnTo>
                    <a:pt x="224" y="216"/>
                  </a:lnTo>
                  <a:lnTo>
                    <a:pt x="218" y="220"/>
                  </a:lnTo>
                  <a:lnTo>
                    <a:pt x="188" y="220"/>
                  </a:lnTo>
                  <a:lnTo>
                    <a:pt x="183" y="225"/>
                  </a:lnTo>
                  <a:lnTo>
                    <a:pt x="168" y="225"/>
                  </a:lnTo>
                  <a:lnTo>
                    <a:pt x="160" y="214"/>
                  </a:lnTo>
                  <a:lnTo>
                    <a:pt x="149" y="194"/>
                  </a:lnTo>
                  <a:lnTo>
                    <a:pt x="144" y="190"/>
                  </a:lnTo>
                  <a:lnTo>
                    <a:pt x="140" y="190"/>
                  </a:lnTo>
                  <a:lnTo>
                    <a:pt x="125" y="184"/>
                  </a:lnTo>
                  <a:lnTo>
                    <a:pt x="110" y="175"/>
                  </a:lnTo>
                  <a:lnTo>
                    <a:pt x="101" y="175"/>
                  </a:lnTo>
                  <a:lnTo>
                    <a:pt x="80" y="171"/>
                  </a:lnTo>
                  <a:lnTo>
                    <a:pt x="65" y="164"/>
                  </a:lnTo>
                  <a:lnTo>
                    <a:pt x="60" y="155"/>
                  </a:lnTo>
                  <a:lnTo>
                    <a:pt x="65" y="151"/>
                  </a:lnTo>
                  <a:lnTo>
                    <a:pt x="60" y="145"/>
                  </a:lnTo>
                  <a:lnTo>
                    <a:pt x="60" y="134"/>
                  </a:lnTo>
                  <a:lnTo>
                    <a:pt x="52" y="121"/>
                  </a:lnTo>
                  <a:lnTo>
                    <a:pt x="41" y="110"/>
                  </a:lnTo>
                  <a:lnTo>
                    <a:pt x="37" y="112"/>
                  </a:lnTo>
                  <a:lnTo>
                    <a:pt x="34" y="106"/>
                  </a:lnTo>
                  <a:lnTo>
                    <a:pt x="30" y="104"/>
                  </a:lnTo>
                  <a:lnTo>
                    <a:pt x="26" y="112"/>
                  </a:lnTo>
                  <a:lnTo>
                    <a:pt x="15" y="102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0" y="91"/>
                  </a:lnTo>
                  <a:lnTo>
                    <a:pt x="0" y="82"/>
                  </a:lnTo>
                  <a:lnTo>
                    <a:pt x="4" y="76"/>
                  </a:lnTo>
                  <a:lnTo>
                    <a:pt x="26" y="67"/>
                  </a:lnTo>
                  <a:lnTo>
                    <a:pt x="26" y="60"/>
                  </a:lnTo>
                  <a:lnTo>
                    <a:pt x="34" y="52"/>
                  </a:lnTo>
                  <a:lnTo>
                    <a:pt x="37" y="48"/>
                  </a:lnTo>
                  <a:lnTo>
                    <a:pt x="45" y="41"/>
                  </a:lnTo>
                  <a:lnTo>
                    <a:pt x="65" y="39"/>
                  </a:lnTo>
                  <a:lnTo>
                    <a:pt x="71" y="45"/>
                  </a:lnTo>
                  <a:lnTo>
                    <a:pt x="88" y="41"/>
                  </a:lnTo>
                  <a:lnTo>
                    <a:pt x="90" y="52"/>
                  </a:lnTo>
                  <a:lnTo>
                    <a:pt x="103" y="54"/>
                  </a:lnTo>
                  <a:lnTo>
                    <a:pt x="125" y="54"/>
                  </a:lnTo>
                  <a:lnTo>
                    <a:pt x="153" y="52"/>
                  </a:lnTo>
                  <a:lnTo>
                    <a:pt x="149" y="41"/>
                  </a:lnTo>
                  <a:lnTo>
                    <a:pt x="144" y="32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9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4" name="Freeform 127"/>
            <p:cNvSpPr>
              <a:spLocks noChangeAspect="1"/>
            </p:cNvSpPr>
            <p:nvPr/>
          </p:nvSpPr>
          <p:spPr bwMode="auto">
            <a:xfrm>
              <a:off x="4017" y="2150"/>
              <a:ext cx="149" cy="77"/>
            </a:xfrm>
            <a:custGeom>
              <a:avLst/>
              <a:gdLst>
                <a:gd name="T0" fmla="*/ 102 w 135"/>
                <a:gd name="T1" fmla="*/ 0 h 76"/>
                <a:gd name="T2" fmla="*/ 195 w 135"/>
                <a:gd name="T3" fmla="*/ 5 h 76"/>
                <a:gd name="T4" fmla="*/ 416 w 135"/>
                <a:gd name="T5" fmla="*/ 15 h 76"/>
                <a:gd name="T6" fmla="*/ 473 w 135"/>
                <a:gd name="T7" fmla="*/ 26 h 76"/>
                <a:gd name="T8" fmla="*/ 494 w 135"/>
                <a:gd name="T9" fmla="*/ 24 h 76"/>
                <a:gd name="T10" fmla="*/ 545 w 135"/>
                <a:gd name="T11" fmla="*/ 24 h 76"/>
                <a:gd name="T12" fmla="*/ 576 w 135"/>
                <a:gd name="T13" fmla="*/ 30 h 76"/>
                <a:gd name="T14" fmla="*/ 638 w 135"/>
                <a:gd name="T15" fmla="*/ 35 h 76"/>
                <a:gd name="T16" fmla="*/ 702 w 135"/>
                <a:gd name="T17" fmla="*/ 30 h 76"/>
                <a:gd name="T18" fmla="*/ 702 w 135"/>
                <a:gd name="T19" fmla="*/ 61 h 76"/>
                <a:gd name="T20" fmla="*/ 756 w 135"/>
                <a:gd name="T21" fmla="*/ 61 h 76"/>
                <a:gd name="T22" fmla="*/ 886 w 135"/>
                <a:gd name="T23" fmla="*/ 68 h 76"/>
                <a:gd name="T24" fmla="*/ 893 w 135"/>
                <a:gd name="T25" fmla="*/ 66 h 76"/>
                <a:gd name="T26" fmla="*/ 986 w 135"/>
                <a:gd name="T27" fmla="*/ 68 h 76"/>
                <a:gd name="T28" fmla="*/ 1139 w 135"/>
                <a:gd name="T29" fmla="*/ 68 h 76"/>
                <a:gd name="T30" fmla="*/ 1120 w 135"/>
                <a:gd name="T31" fmla="*/ 76 h 76"/>
                <a:gd name="T32" fmla="*/ 1139 w 135"/>
                <a:gd name="T33" fmla="*/ 96 h 76"/>
                <a:gd name="T34" fmla="*/ 1015 w 135"/>
                <a:gd name="T35" fmla="*/ 96 h 76"/>
                <a:gd name="T36" fmla="*/ 1015 w 135"/>
                <a:gd name="T37" fmla="*/ 91 h 76"/>
                <a:gd name="T38" fmla="*/ 962 w 135"/>
                <a:gd name="T39" fmla="*/ 91 h 76"/>
                <a:gd name="T40" fmla="*/ 886 w 135"/>
                <a:gd name="T41" fmla="*/ 91 h 76"/>
                <a:gd name="T42" fmla="*/ 858 w 135"/>
                <a:gd name="T43" fmla="*/ 91 h 76"/>
                <a:gd name="T44" fmla="*/ 794 w 135"/>
                <a:gd name="T45" fmla="*/ 85 h 76"/>
                <a:gd name="T46" fmla="*/ 756 w 135"/>
                <a:gd name="T47" fmla="*/ 89 h 76"/>
                <a:gd name="T48" fmla="*/ 664 w 135"/>
                <a:gd name="T49" fmla="*/ 83 h 76"/>
                <a:gd name="T50" fmla="*/ 638 w 135"/>
                <a:gd name="T51" fmla="*/ 81 h 76"/>
                <a:gd name="T52" fmla="*/ 513 w 135"/>
                <a:gd name="T53" fmla="*/ 76 h 76"/>
                <a:gd name="T54" fmla="*/ 368 w 135"/>
                <a:gd name="T55" fmla="*/ 70 h 76"/>
                <a:gd name="T56" fmla="*/ 274 w 135"/>
                <a:gd name="T57" fmla="*/ 68 h 76"/>
                <a:gd name="T58" fmla="*/ 168 w 135"/>
                <a:gd name="T59" fmla="*/ 61 h 76"/>
                <a:gd name="T60" fmla="*/ 68 w 135"/>
                <a:gd name="T61" fmla="*/ 35 h 76"/>
                <a:gd name="T62" fmla="*/ 0 w 135"/>
                <a:gd name="T63" fmla="*/ 28 h 76"/>
                <a:gd name="T64" fmla="*/ 68 w 135"/>
                <a:gd name="T65" fmla="*/ 26 h 76"/>
                <a:gd name="T66" fmla="*/ 4 w 135"/>
                <a:gd name="T67" fmla="*/ 20 h 76"/>
                <a:gd name="T68" fmla="*/ 68 w 135"/>
                <a:gd name="T69" fmla="*/ 13 h 76"/>
                <a:gd name="T70" fmla="*/ 102 w 135"/>
                <a:gd name="T71" fmla="*/ 0 h 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5"/>
                <a:gd name="T109" fmla="*/ 0 h 76"/>
                <a:gd name="T110" fmla="*/ 135 w 135"/>
                <a:gd name="T111" fmla="*/ 76 h 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5" h="76">
                  <a:moveTo>
                    <a:pt x="12" y="0"/>
                  </a:moveTo>
                  <a:lnTo>
                    <a:pt x="23" y="5"/>
                  </a:lnTo>
                  <a:lnTo>
                    <a:pt x="49" y="15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64" y="24"/>
                  </a:lnTo>
                  <a:lnTo>
                    <a:pt x="69" y="30"/>
                  </a:lnTo>
                  <a:lnTo>
                    <a:pt x="77" y="35"/>
                  </a:lnTo>
                  <a:lnTo>
                    <a:pt x="84" y="30"/>
                  </a:lnTo>
                  <a:lnTo>
                    <a:pt x="84" y="41"/>
                  </a:lnTo>
                  <a:lnTo>
                    <a:pt x="90" y="41"/>
                  </a:lnTo>
                  <a:lnTo>
                    <a:pt x="105" y="48"/>
                  </a:lnTo>
                  <a:lnTo>
                    <a:pt x="107" y="46"/>
                  </a:lnTo>
                  <a:lnTo>
                    <a:pt x="118" y="48"/>
                  </a:lnTo>
                  <a:lnTo>
                    <a:pt x="135" y="48"/>
                  </a:lnTo>
                  <a:lnTo>
                    <a:pt x="133" y="56"/>
                  </a:lnTo>
                  <a:lnTo>
                    <a:pt x="135" y="76"/>
                  </a:lnTo>
                  <a:lnTo>
                    <a:pt x="120" y="76"/>
                  </a:lnTo>
                  <a:lnTo>
                    <a:pt x="120" y="71"/>
                  </a:lnTo>
                  <a:lnTo>
                    <a:pt x="114" y="71"/>
                  </a:lnTo>
                  <a:lnTo>
                    <a:pt x="105" y="71"/>
                  </a:lnTo>
                  <a:lnTo>
                    <a:pt x="103" y="71"/>
                  </a:lnTo>
                  <a:lnTo>
                    <a:pt x="94" y="65"/>
                  </a:lnTo>
                  <a:lnTo>
                    <a:pt x="90" y="69"/>
                  </a:lnTo>
                  <a:lnTo>
                    <a:pt x="79" y="63"/>
                  </a:lnTo>
                  <a:lnTo>
                    <a:pt x="77" y="61"/>
                  </a:lnTo>
                  <a:lnTo>
                    <a:pt x="62" y="56"/>
                  </a:lnTo>
                  <a:lnTo>
                    <a:pt x="43" y="50"/>
                  </a:lnTo>
                  <a:lnTo>
                    <a:pt x="32" y="48"/>
                  </a:lnTo>
                  <a:lnTo>
                    <a:pt x="19" y="41"/>
                  </a:lnTo>
                  <a:lnTo>
                    <a:pt x="8" y="35"/>
                  </a:lnTo>
                  <a:lnTo>
                    <a:pt x="0" y="28"/>
                  </a:lnTo>
                  <a:lnTo>
                    <a:pt x="8" y="26"/>
                  </a:lnTo>
                  <a:lnTo>
                    <a:pt x="4" y="20"/>
                  </a:lnTo>
                  <a:lnTo>
                    <a:pt x="8" y="13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5" name="Freeform 128"/>
            <p:cNvSpPr>
              <a:spLocks noChangeAspect="1"/>
            </p:cNvSpPr>
            <p:nvPr/>
          </p:nvSpPr>
          <p:spPr bwMode="auto">
            <a:xfrm>
              <a:off x="3539" y="2256"/>
              <a:ext cx="130" cy="149"/>
            </a:xfrm>
            <a:custGeom>
              <a:avLst/>
              <a:gdLst>
                <a:gd name="T0" fmla="*/ 394 w 118"/>
                <a:gd name="T1" fmla="*/ 65 h 147"/>
                <a:gd name="T2" fmla="*/ 394 w 118"/>
                <a:gd name="T3" fmla="*/ 32 h 147"/>
                <a:gd name="T4" fmla="*/ 421 w 118"/>
                <a:gd name="T5" fmla="*/ 26 h 147"/>
                <a:gd name="T6" fmla="*/ 421 w 118"/>
                <a:gd name="T7" fmla="*/ 21 h 147"/>
                <a:gd name="T8" fmla="*/ 468 w 118"/>
                <a:gd name="T9" fmla="*/ 21 h 147"/>
                <a:gd name="T10" fmla="*/ 495 w 118"/>
                <a:gd name="T11" fmla="*/ 21 h 147"/>
                <a:gd name="T12" fmla="*/ 468 w 118"/>
                <a:gd name="T13" fmla="*/ 15 h 147"/>
                <a:gd name="T14" fmla="*/ 449 w 118"/>
                <a:gd name="T15" fmla="*/ 15 h 147"/>
                <a:gd name="T16" fmla="*/ 421 w 118"/>
                <a:gd name="T17" fmla="*/ 2 h 147"/>
                <a:gd name="T18" fmla="*/ 449 w 118"/>
                <a:gd name="T19" fmla="*/ 0 h 147"/>
                <a:gd name="T20" fmla="*/ 468 w 118"/>
                <a:gd name="T21" fmla="*/ 0 h 147"/>
                <a:gd name="T22" fmla="*/ 562 w 118"/>
                <a:gd name="T23" fmla="*/ 17 h 147"/>
                <a:gd name="T24" fmla="*/ 733 w 118"/>
                <a:gd name="T25" fmla="*/ 24 h 147"/>
                <a:gd name="T26" fmla="*/ 802 w 118"/>
                <a:gd name="T27" fmla="*/ 26 h 147"/>
                <a:gd name="T28" fmla="*/ 911 w 118"/>
                <a:gd name="T29" fmla="*/ 61 h 147"/>
                <a:gd name="T30" fmla="*/ 967 w 118"/>
                <a:gd name="T31" fmla="*/ 65 h 147"/>
                <a:gd name="T32" fmla="*/ 911 w 118"/>
                <a:gd name="T33" fmla="*/ 85 h 147"/>
                <a:gd name="T34" fmla="*/ 802 w 118"/>
                <a:gd name="T35" fmla="*/ 102 h 147"/>
                <a:gd name="T36" fmla="*/ 797 w 118"/>
                <a:gd name="T37" fmla="*/ 102 h 147"/>
                <a:gd name="T38" fmla="*/ 777 w 118"/>
                <a:gd name="T39" fmla="*/ 100 h 147"/>
                <a:gd name="T40" fmla="*/ 733 w 118"/>
                <a:gd name="T41" fmla="*/ 106 h 147"/>
                <a:gd name="T42" fmla="*/ 714 w 118"/>
                <a:gd name="T43" fmla="*/ 123 h 147"/>
                <a:gd name="T44" fmla="*/ 733 w 118"/>
                <a:gd name="T45" fmla="*/ 141 h 147"/>
                <a:gd name="T46" fmla="*/ 618 w 118"/>
                <a:gd name="T47" fmla="*/ 149 h 147"/>
                <a:gd name="T48" fmla="*/ 562 w 118"/>
                <a:gd name="T49" fmla="*/ 156 h 147"/>
                <a:gd name="T50" fmla="*/ 562 w 118"/>
                <a:gd name="T51" fmla="*/ 161 h 147"/>
                <a:gd name="T52" fmla="*/ 516 w 118"/>
                <a:gd name="T53" fmla="*/ 165 h 147"/>
                <a:gd name="T54" fmla="*/ 421 w 118"/>
                <a:gd name="T55" fmla="*/ 167 h 147"/>
                <a:gd name="T56" fmla="*/ 421 w 118"/>
                <a:gd name="T57" fmla="*/ 176 h 147"/>
                <a:gd name="T58" fmla="*/ 394 w 118"/>
                <a:gd name="T59" fmla="*/ 180 h 147"/>
                <a:gd name="T60" fmla="*/ 350 w 118"/>
                <a:gd name="T61" fmla="*/ 180 h 147"/>
                <a:gd name="T62" fmla="*/ 207 w 118"/>
                <a:gd name="T63" fmla="*/ 184 h 147"/>
                <a:gd name="T64" fmla="*/ 160 w 118"/>
                <a:gd name="T65" fmla="*/ 188 h 147"/>
                <a:gd name="T66" fmla="*/ 0 w 118"/>
                <a:gd name="T67" fmla="*/ 141 h 147"/>
                <a:gd name="T68" fmla="*/ 394 w 118"/>
                <a:gd name="T69" fmla="*/ 106 h 147"/>
                <a:gd name="T70" fmla="*/ 449 w 118"/>
                <a:gd name="T71" fmla="*/ 76 h 147"/>
                <a:gd name="T72" fmla="*/ 394 w 118"/>
                <a:gd name="T73" fmla="*/ 65 h 14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8"/>
                <a:gd name="T112" fmla="*/ 0 h 147"/>
                <a:gd name="T113" fmla="*/ 118 w 118"/>
                <a:gd name="T114" fmla="*/ 147 h 14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8" h="147">
                  <a:moveTo>
                    <a:pt x="49" y="45"/>
                  </a:moveTo>
                  <a:lnTo>
                    <a:pt x="49" y="32"/>
                  </a:lnTo>
                  <a:lnTo>
                    <a:pt x="52" y="26"/>
                  </a:lnTo>
                  <a:lnTo>
                    <a:pt x="52" y="21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58" y="15"/>
                  </a:lnTo>
                  <a:lnTo>
                    <a:pt x="54" y="15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69" y="17"/>
                  </a:lnTo>
                  <a:lnTo>
                    <a:pt x="90" y="24"/>
                  </a:lnTo>
                  <a:lnTo>
                    <a:pt x="99" y="26"/>
                  </a:lnTo>
                  <a:lnTo>
                    <a:pt x="112" y="41"/>
                  </a:lnTo>
                  <a:lnTo>
                    <a:pt x="118" y="45"/>
                  </a:lnTo>
                  <a:lnTo>
                    <a:pt x="112" y="65"/>
                  </a:lnTo>
                  <a:lnTo>
                    <a:pt x="99" y="82"/>
                  </a:lnTo>
                  <a:lnTo>
                    <a:pt x="97" y="82"/>
                  </a:lnTo>
                  <a:lnTo>
                    <a:pt x="95" y="80"/>
                  </a:lnTo>
                  <a:lnTo>
                    <a:pt x="90" y="86"/>
                  </a:lnTo>
                  <a:lnTo>
                    <a:pt x="88" y="97"/>
                  </a:lnTo>
                  <a:lnTo>
                    <a:pt x="90" y="106"/>
                  </a:lnTo>
                  <a:lnTo>
                    <a:pt x="75" y="110"/>
                  </a:lnTo>
                  <a:lnTo>
                    <a:pt x="69" y="116"/>
                  </a:lnTo>
                  <a:lnTo>
                    <a:pt x="69" y="121"/>
                  </a:lnTo>
                  <a:lnTo>
                    <a:pt x="64" y="125"/>
                  </a:lnTo>
                  <a:lnTo>
                    <a:pt x="52" y="127"/>
                  </a:lnTo>
                  <a:lnTo>
                    <a:pt x="52" y="136"/>
                  </a:lnTo>
                  <a:lnTo>
                    <a:pt x="49" y="140"/>
                  </a:lnTo>
                  <a:lnTo>
                    <a:pt x="43" y="140"/>
                  </a:lnTo>
                  <a:lnTo>
                    <a:pt x="26" y="144"/>
                  </a:lnTo>
                  <a:lnTo>
                    <a:pt x="19" y="147"/>
                  </a:lnTo>
                  <a:lnTo>
                    <a:pt x="0" y="106"/>
                  </a:lnTo>
                  <a:lnTo>
                    <a:pt x="49" y="86"/>
                  </a:lnTo>
                  <a:lnTo>
                    <a:pt x="54" y="56"/>
                  </a:lnTo>
                  <a:lnTo>
                    <a:pt x="49" y="4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6" name="Freeform 129"/>
            <p:cNvSpPr>
              <a:spLocks noChangeAspect="1"/>
            </p:cNvSpPr>
            <p:nvPr/>
          </p:nvSpPr>
          <p:spPr bwMode="auto">
            <a:xfrm>
              <a:off x="3682" y="2025"/>
              <a:ext cx="280" cy="257"/>
            </a:xfrm>
            <a:custGeom>
              <a:avLst/>
              <a:gdLst>
                <a:gd name="T0" fmla="*/ 1576 w 255"/>
                <a:gd name="T1" fmla="*/ 0 h 253"/>
                <a:gd name="T2" fmla="*/ 1823 w 255"/>
                <a:gd name="T3" fmla="*/ 20 h 253"/>
                <a:gd name="T4" fmla="*/ 1916 w 255"/>
                <a:gd name="T5" fmla="*/ 55 h 253"/>
                <a:gd name="T6" fmla="*/ 1711 w 255"/>
                <a:gd name="T7" fmla="*/ 70 h 253"/>
                <a:gd name="T8" fmla="*/ 1512 w 255"/>
                <a:gd name="T9" fmla="*/ 66 h 253"/>
                <a:gd name="T10" fmla="*/ 1536 w 255"/>
                <a:gd name="T11" fmla="*/ 81 h 253"/>
                <a:gd name="T12" fmla="*/ 1576 w 255"/>
                <a:gd name="T13" fmla="*/ 105 h 253"/>
                <a:gd name="T14" fmla="*/ 1711 w 255"/>
                <a:gd name="T15" fmla="*/ 123 h 253"/>
                <a:gd name="T16" fmla="*/ 1657 w 255"/>
                <a:gd name="T17" fmla="*/ 140 h 253"/>
                <a:gd name="T18" fmla="*/ 1657 w 255"/>
                <a:gd name="T19" fmla="*/ 155 h 253"/>
                <a:gd name="T20" fmla="*/ 1558 w 255"/>
                <a:gd name="T21" fmla="*/ 178 h 253"/>
                <a:gd name="T22" fmla="*/ 1512 w 255"/>
                <a:gd name="T23" fmla="*/ 204 h 253"/>
                <a:gd name="T24" fmla="*/ 1399 w 255"/>
                <a:gd name="T25" fmla="*/ 224 h 253"/>
                <a:gd name="T26" fmla="*/ 1352 w 255"/>
                <a:gd name="T27" fmla="*/ 234 h 253"/>
                <a:gd name="T28" fmla="*/ 1192 w 255"/>
                <a:gd name="T29" fmla="*/ 234 h 253"/>
                <a:gd name="T30" fmla="*/ 1136 w 255"/>
                <a:gd name="T31" fmla="*/ 244 h 253"/>
                <a:gd name="T32" fmla="*/ 1166 w 255"/>
                <a:gd name="T33" fmla="*/ 268 h 253"/>
                <a:gd name="T34" fmla="*/ 1212 w 255"/>
                <a:gd name="T35" fmla="*/ 292 h 253"/>
                <a:gd name="T36" fmla="*/ 1280 w 255"/>
                <a:gd name="T37" fmla="*/ 328 h 253"/>
                <a:gd name="T38" fmla="*/ 1212 w 255"/>
                <a:gd name="T39" fmla="*/ 328 h 253"/>
                <a:gd name="T40" fmla="*/ 1136 w 255"/>
                <a:gd name="T41" fmla="*/ 331 h 253"/>
                <a:gd name="T42" fmla="*/ 1021 w 255"/>
                <a:gd name="T43" fmla="*/ 333 h 253"/>
                <a:gd name="T44" fmla="*/ 976 w 255"/>
                <a:gd name="T45" fmla="*/ 338 h 253"/>
                <a:gd name="T46" fmla="*/ 825 w 255"/>
                <a:gd name="T47" fmla="*/ 333 h 253"/>
                <a:gd name="T48" fmla="*/ 787 w 255"/>
                <a:gd name="T49" fmla="*/ 315 h 253"/>
                <a:gd name="T50" fmla="*/ 713 w 255"/>
                <a:gd name="T51" fmla="*/ 302 h 253"/>
                <a:gd name="T52" fmla="*/ 606 w 255"/>
                <a:gd name="T53" fmla="*/ 302 h 253"/>
                <a:gd name="T54" fmla="*/ 484 w 255"/>
                <a:gd name="T55" fmla="*/ 312 h 253"/>
                <a:gd name="T56" fmla="*/ 378 w 255"/>
                <a:gd name="T57" fmla="*/ 302 h 253"/>
                <a:gd name="T58" fmla="*/ 180 w 255"/>
                <a:gd name="T59" fmla="*/ 310 h 253"/>
                <a:gd name="T60" fmla="*/ 112 w 255"/>
                <a:gd name="T61" fmla="*/ 298 h 253"/>
                <a:gd name="T62" fmla="*/ 180 w 255"/>
                <a:gd name="T63" fmla="*/ 279 h 253"/>
                <a:gd name="T64" fmla="*/ 287 w 255"/>
                <a:gd name="T65" fmla="*/ 271 h 253"/>
                <a:gd name="T66" fmla="*/ 313 w 255"/>
                <a:gd name="T67" fmla="*/ 268 h 253"/>
                <a:gd name="T68" fmla="*/ 261 w 255"/>
                <a:gd name="T69" fmla="*/ 256 h 253"/>
                <a:gd name="T70" fmla="*/ 180 w 255"/>
                <a:gd name="T71" fmla="*/ 224 h 253"/>
                <a:gd name="T72" fmla="*/ 0 w 255"/>
                <a:gd name="T73" fmla="*/ 198 h 253"/>
                <a:gd name="T74" fmla="*/ 261 w 255"/>
                <a:gd name="T75" fmla="*/ 204 h 253"/>
                <a:gd name="T76" fmla="*/ 378 w 255"/>
                <a:gd name="T77" fmla="*/ 204 h 253"/>
                <a:gd name="T78" fmla="*/ 640 w 255"/>
                <a:gd name="T79" fmla="*/ 187 h 253"/>
                <a:gd name="T80" fmla="*/ 672 w 255"/>
                <a:gd name="T81" fmla="*/ 157 h 253"/>
                <a:gd name="T82" fmla="*/ 713 w 255"/>
                <a:gd name="T83" fmla="*/ 155 h 253"/>
                <a:gd name="T84" fmla="*/ 802 w 255"/>
                <a:gd name="T85" fmla="*/ 148 h 253"/>
                <a:gd name="T86" fmla="*/ 864 w 255"/>
                <a:gd name="T87" fmla="*/ 148 h 253"/>
                <a:gd name="T88" fmla="*/ 947 w 255"/>
                <a:gd name="T89" fmla="*/ 150 h 253"/>
                <a:gd name="T90" fmla="*/ 976 w 255"/>
                <a:gd name="T91" fmla="*/ 135 h 253"/>
                <a:gd name="T92" fmla="*/ 995 w 255"/>
                <a:gd name="T93" fmla="*/ 105 h 253"/>
                <a:gd name="T94" fmla="*/ 1042 w 255"/>
                <a:gd name="T95" fmla="*/ 89 h 253"/>
                <a:gd name="T96" fmla="*/ 1072 w 255"/>
                <a:gd name="T97" fmla="*/ 81 h 253"/>
                <a:gd name="T98" fmla="*/ 1136 w 255"/>
                <a:gd name="T99" fmla="*/ 72 h 253"/>
                <a:gd name="T100" fmla="*/ 1192 w 255"/>
                <a:gd name="T101" fmla="*/ 55 h 253"/>
                <a:gd name="T102" fmla="*/ 1192 w 255"/>
                <a:gd name="T103" fmla="*/ 11 h 253"/>
                <a:gd name="T104" fmla="*/ 1331 w 255"/>
                <a:gd name="T105" fmla="*/ 5 h 25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5"/>
                <a:gd name="T160" fmla="*/ 0 h 253"/>
                <a:gd name="T161" fmla="*/ 255 w 255"/>
                <a:gd name="T162" fmla="*/ 253 h 25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5" h="253">
                  <a:moveTo>
                    <a:pt x="199" y="5"/>
                  </a:moveTo>
                  <a:lnTo>
                    <a:pt x="207" y="0"/>
                  </a:lnTo>
                  <a:lnTo>
                    <a:pt x="229" y="9"/>
                  </a:lnTo>
                  <a:lnTo>
                    <a:pt x="240" y="20"/>
                  </a:lnTo>
                  <a:lnTo>
                    <a:pt x="255" y="30"/>
                  </a:lnTo>
                  <a:lnTo>
                    <a:pt x="251" y="35"/>
                  </a:lnTo>
                  <a:lnTo>
                    <a:pt x="240" y="43"/>
                  </a:lnTo>
                  <a:lnTo>
                    <a:pt x="225" y="50"/>
                  </a:lnTo>
                  <a:lnTo>
                    <a:pt x="214" y="46"/>
                  </a:lnTo>
                  <a:lnTo>
                    <a:pt x="199" y="46"/>
                  </a:lnTo>
                  <a:lnTo>
                    <a:pt x="192" y="52"/>
                  </a:lnTo>
                  <a:lnTo>
                    <a:pt x="201" y="61"/>
                  </a:lnTo>
                  <a:lnTo>
                    <a:pt x="201" y="76"/>
                  </a:lnTo>
                  <a:lnTo>
                    <a:pt x="207" y="80"/>
                  </a:lnTo>
                  <a:lnTo>
                    <a:pt x="210" y="87"/>
                  </a:lnTo>
                  <a:lnTo>
                    <a:pt x="225" y="89"/>
                  </a:lnTo>
                  <a:lnTo>
                    <a:pt x="225" y="95"/>
                  </a:lnTo>
                  <a:lnTo>
                    <a:pt x="218" y="100"/>
                  </a:lnTo>
                  <a:lnTo>
                    <a:pt x="210" y="104"/>
                  </a:lnTo>
                  <a:lnTo>
                    <a:pt x="218" y="115"/>
                  </a:lnTo>
                  <a:lnTo>
                    <a:pt x="210" y="119"/>
                  </a:lnTo>
                  <a:lnTo>
                    <a:pt x="205" y="132"/>
                  </a:lnTo>
                  <a:lnTo>
                    <a:pt x="199" y="138"/>
                  </a:lnTo>
                  <a:lnTo>
                    <a:pt x="199" y="149"/>
                  </a:lnTo>
                  <a:lnTo>
                    <a:pt x="184" y="156"/>
                  </a:lnTo>
                  <a:lnTo>
                    <a:pt x="184" y="164"/>
                  </a:lnTo>
                  <a:lnTo>
                    <a:pt x="179" y="169"/>
                  </a:lnTo>
                  <a:lnTo>
                    <a:pt x="177" y="171"/>
                  </a:lnTo>
                  <a:lnTo>
                    <a:pt x="160" y="179"/>
                  </a:lnTo>
                  <a:lnTo>
                    <a:pt x="156" y="171"/>
                  </a:lnTo>
                  <a:lnTo>
                    <a:pt x="153" y="175"/>
                  </a:lnTo>
                  <a:lnTo>
                    <a:pt x="149" y="179"/>
                  </a:lnTo>
                  <a:lnTo>
                    <a:pt x="140" y="192"/>
                  </a:lnTo>
                  <a:lnTo>
                    <a:pt x="153" y="197"/>
                  </a:lnTo>
                  <a:lnTo>
                    <a:pt x="153" y="212"/>
                  </a:lnTo>
                  <a:lnTo>
                    <a:pt x="160" y="214"/>
                  </a:lnTo>
                  <a:lnTo>
                    <a:pt x="169" y="236"/>
                  </a:lnTo>
                  <a:lnTo>
                    <a:pt x="169" y="240"/>
                  </a:lnTo>
                  <a:lnTo>
                    <a:pt x="164" y="242"/>
                  </a:lnTo>
                  <a:lnTo>
                    <a:pt x="160" y="240"/>
                  </a:lnTo>
                  <a:lnTo>
                    <a:pt x="156" y="242"/>
                  </a:lnTo>
                  <a:lnTo>
                    <a:pt x="149" y="242"/>
                  </a:lnTo>
                  <a:lnTo>
                    <a:pt x="134" y="242"/>
                  </a:lnTo>
                  <a:lnTo>
                    <a:pt x="134" y="244"/>
                  </a:lnTo>
                  <a:lnTo>
                    <a:pt x="128" y="244"/>
                  </a:lnTo>
                  <a:lnTo>
                    <a:pt x="128" y="248"/>
                  </a:lnTo>
                  <a:lnTo>
                    <a:pt x="125" y="253"/>
                  </a:lnTo>
                  <a:lnTo>
                    <a:pt x="108" y="244"/>
                  </a:lnTo>
                  <a:lnTo>
                    <a:pt x="106" y="236"/>
                  </a:lnTo>
                  <a:lnTo>
                    <a:pt x="104" y="229"/>
                  </a:lnTo>
                  <a:lnTo>
                    <a:pt x="95" y="229"/>
                  </a:lnTo>
                  <a:lnTo>
                    <a:pt x="93" y="220"/>
                  </a:lnTo>
                  <a:lnTo>
                    <a:pt x="89" y="218"/>
                  </a:lnTo>
                  <a:lnTo>
                    <a:pt x="80" y="220"/>
                  </a:lnTo>
                  <a:lnTo>
                    <a:pt x="63" y="225"/>
                  </a:lnTo>
                  <a:lnTo>
                    <a:pt x="63" y="227"/>
                  </a:lnTo>
                  <a:lnTo>
                    <a:pt x="56" y="225"/>
                  </a:lnTo>
                  <a:lnTo>
                    <a:pt x="50" y="220"/>
                  </a:lnTo>
                  <a:lnTo>
                    <a:pt x="39" y="225"/>
                  </a:lnTo>
                  <a:lnTo>
                    <a:pt x="24" y="225"/>
                  </a:lnTo>
                  <a:lnTo>
                    <a:pt x="15" y="227"/>
                  </a:lnTo>
                  <a:lnTo>
                    <a:pt x="15" y="218"/>
                  </a:lnTo>
                  <a:lnTo>
                    <a:pt x="20" y="205"/>
                  </a:lnTo>
                  <a:lnTo>
                    <a:pt x="24" y="205"/>
                  </a:lnTo>
                  <a:lnTo>
                    <a:pt x="33" y="199"/>
                  </a:lnTo>
                  <a:lnTo>
                    <a:pt x="39" y="199"/>
                  </a:lnTo>
                  <a:lnTo>
                    <a:pt x="39" y="197"/>
                  </a:lnTo>
                  <a:lnTo>
                    <a:pt x="41" y="197"/>
                  </a:lnTo>
                  <a:lnTo>
                    <a:pt x="41" y="188"/>
                  </a:lnTo>
                  <a:lnTo>
                    <a:pt x="35" y="188"/>
                  </a:lnTo>
                  <a:lnTo>
                    <a:pt x="33" y="175"/>
                  </a:lnTo>
                  <a:lnTo>
                    <a:pt x="24" y="164"/>
                  </a:lnTo>
                  <a:lnTo>
                    <a:pt x="13" y="164"/>
                  </a:lnTo>
                  <a:lnTo>
                    <a:pt x="0" y="145"/>
                  </a:lnTo>
                  <a:lnTo>
                    <a:pt x="24" y="149"/>
                  </a:lnTo>
                  <a:lnTo>
                    <a:pt x="35" y="149"/>
                  </a:lnTo>
                  <a:lnTo>
                    <a:pt x="43" y="149"/>
                  </a:lnTo>
                  <a:lnTo>
                    <a:pt x="50" y="149"/>
                  </a:lnTo>
                  <a:lnTo>
                    <a:pt x="65" y="145"/>
                  </a:lnTo>
                  <a:lnTo>
                    <a:pt x="84" y="138"/>
                  </a:lnTo>
                  <a:lnTo>
                    <a:pt x="84" y="119"/>
                  </a:lnTo>
                  <a:lnTo>
                    <a:pt x="89" y="117"/>
                  </a:lnTo>
                  <a:lnTo>
                    <a:pt x="91" y="115"/>
                  </a:lnTo>
                  <a:lnTo>
                    <a:pt x="93" y="115"/>
                  </a:lnTo>
                  <a:lnTo>
                    <a:pt x="104" y="115"/>
                  </a:lnTo>
                  <a:lnTo>
                    <a:pt x="106" y="108"/>
                  </a:lnTo>
                  <a:lnTo>
                    <a:pt x="108" y="104"/>
                  </a:lnTo>
                  <a:lnTo>
                    <a:pt x="115" y="108"/>
                  </a:lnTo>
                  <a:lnTo>
                    <a:pt x="119" y="108"/>
                  </a:lnTo>
                  <a:lnTo>
                    <a:pt x="125" y="110"/>
                  </a:lnTo>
                  <a:lnTo>
                    <a:pt x="130" y="104"/>
                  </a:lnTo>
                  <a:lnTo>
                    <a:pt x="128" y="95"/>
                  </a:lnTo>
                  <a:lnTo>
                    <a:pt x="130" y="89"/>
                  </a:lnTo>
                  <a:lnTo>
                    <a:pt x="130" y="80"/>
                  </a:lnTo>
                  <a:lnTo>
                    <a:pt x="140" y="74"/>
                  </a:lnTo>
                  <a:lnTo>
                    <a:pt x="138" y="69"/>
                  </a:lnTo>
                  <a:lnTo>
                    <a:pt x="134" y="61"/>
                  </a:lnTo>
                  <a:lnTo>
                    <a:pt x="140" y="61"/>
                  </a:lnTo>
                  <a:lnTo>
                    <a:pt x="153" y="61"/>
                  </a:lnTo>
                  <a:lnTo>
                    <a:pt x="149" y="52"/>
                  </a:lnTo>
                  <a:lnTo>
                    <a:pt x="153" y="46"/>
                  </a:lnTo>
                  <a:lnTo>
                    <a:pt x="156" y="35"/>
                  </a:lnTo>
                  <a:lnTo>
                    <a:pt x="153" y="20"/>
                  </a:lnTo>
                  <a:lnTo>
                    <a:pt x="156" y="11"/>
                  </a:lnTo>
                  <a:lnTo>
                    <a:pt x="164" y="7"/>
                  </a:lnTo>
                  <a:lnTo>
                    <a:pt x="175" y="5"/>
                  </a:lnTo>
                  <a:lnTo>
                    <a:pt x="199" y="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7" name="Freeform 130"/>
            <p:cNvSpPr>
              <a:spLocks noChangeAspect="1"/>
            </p:cNvSpPr>
            <p:nvPr/>
          </p:nvSpPr>
          <p:spPr bwMode="auto">
            <a:xfrm>
              <a:off x="4751" y="2370"/>
              <a:ext cx="84" cy="110"/>
            </a:xfrm>
            <a:custGeom>
              <a:avLst/>
              <a:gdLst>
                <a:gd name="T0" fmla="*/ 652 w 76"/>
                <a:gd name="T1" fmla="*/ 154 h 108"/>
                <a:gd name="T2" fmla="*/ 629 w 76"/>
                <a:gd name="T3" fmla="*/ 145 h 108"/>
                <a:gd name="T4" fmla="*/ 569 w 76"/>
                <a:gd name="T5" fmla="*/ 138 h 108"/>
                <a:gd name="T6" fmla="*/ 567 w 76"/>
                <a:gd name="T7" fmla="*/ 135 h 108"/>
                <a:gd name="T8" fmla="*/ 513 w 76"/>
                <a:gd name="T9" fmla="*/ 129 h 108"/>
                <a:gd name="T10" fmla="*/ 465 w 76"/>
                <a:gd name="T11" fmla="*/ 126 h 108"/>
                <a:gd name="T12" fmla="*/ 440 w 76"/>
                <a:gd name="T13" fmla="*/ 119 h 108"/>
                <a:gd name="T14" fmla="*/ 422 w 76"/>
                <a:gd name="T15" fmla="*/ 122 h 108"/>
                <a:gd name="T16" fmla="*/ 465 w 76"/>
                <a:gd name="T17" fmla="*/ 135 h 108"/>
                <a:gd name="T18" fmla="*/ 440 w 76"/>
                <a:gd name="T19" fmla="*/ 135 h 108"/>
                <a:gd name="T20" fmla="*/ 398 w 76"/>
                <a:gd name="T21" fmla="*/ 126 h 108"/>
                <a:gd name="T22" fmla="*/ 304 w 76"/>
                <a:gd name="T23" fmla="*/ 122 h 108"/>
                <a:gd name="T24" fmla="*/ 267 w 76"/>
                <a:gd name="T25" fmla="*/ 126 h 108"/>
                <a:gd name="T26" fmla="*/ 239 w 76"/>
                <a:gd name="T27" fmla="*/ 126 h 108"/>
                <a:gd name="T28" fmla="*/ 208 w 76"/>
                <a:gd name="T29" fmla="*/ 122 h 108"/>
                <a:gd name="T30" fmla="*/ 179 w 76"/>
                <a:gd name="T31" fmla="*/ 119 h 108"/>
                <a:gd name="T32" fmla="*/ 195 w 76"/>
                <a:gd name="T33" fmla="*/ 107 h 108"/>
                <a:gd name="T34" fmla="*/ 195 w 76"/>
                <a:gd name="T35" fmla="*/ 97 h 108"/>
                <a:gd name="T36" fmla="*/ 179 w 76"/>
                <a:gd name="T37" fmla="*/ 97 h 108"/>
                <a:gd name="T38" fmla="*/ 133 w 76"/>
                <a:gd name="T39" fmla="*/ 107 h 108"/>
                <a:gd name="T40" fmla="*/ 114 w 76"/>
                <a:gd name="T41" fmla="*/ 101 h 108"/>
                <a:gd name="T42" fmla="*/ 62 w 76"/>
                <a:gd name="T43" fmla="*/ 74 h 108"/>
                <a:gd name="T44" fmla="*/ 0 w 76"/>
                <a:gd name="T45" fmla="*/ 59 h 108"/>
                <a:gd name="T46" fmla="*/ 62 w 76"/>
                <a:gd name="T47" fmla="*/ 63 h 108"/>
                <a:gd name="T48" fmla="*/ 76 w 76"/>
                <a:gd name="T49" fmla="*/ 68 h 108"/>
                <a:gd name="T50" fmla="*/ 114 w 76"/>
                <a:gd name="T51" fmla="*/ 63 h 108"/>
                <a:gd name="T52" fmla="*/ 76 w 76"/>
                <a:gd name="T53" fmla="*/ 52 h 108"/>
                <a:gd name="T54" fmla="*/ 76 w 76"/>
                <a:gd name="T55" fmla="*/ 20 h 108"/>
                <a:gd name="T56" fmla="*/ 114 w 76"/>
                <a:gd name="T57" fmla="*/ 0 h 108"/>
                <a:gd name="T58" fmla="*/ 179 w 76"/>
                <a:gd name="T59" fmla="*/ 0 h 108"/>
                <a:gd name="T60" fmla="*/ 267 w 76"/>
                <a:gd name="T61" fmla="*/ 4 h 108"/>
                <a:gd name="T62" fmla="*/ 304 w 76"/>
                <a:gd name="T63" fmla="*/ 0 h 108"/>
                <a:gd name="T64" fmla="*/ 304 w 76"/>
                <a:gd name="T65" fmla="*/ 4 h 108"/>
                <a:gd name="T66" fmla="*/ 304 w 76"/>
                <a:gd name="T67" fmla="*/ 9 h 108"/>
                <a:gd name="T68" fmla="*/ 304 w 76"/>
                <a:gd name="T69" fmla="*/ 20 h 108"/>
                <a:gd name="T70" fmla="*/ 380 w 76"/>
                <a:gd name="T71" fmla="*/ 24 h 108"/>
                <a:gd name="T72" fmla="*/ 380 w 76"/>
                <a:gd name="T73" fmla="*/ 52 h 108"/>
                <a:gd name="T74" fmla="*/ 336 w 76"/>
                <a:gd name="T75" fmla="*/ 63 h 108"/>
                <a:gd name="T76" fmla="*/ 267 w 76"/>
                <a:gd name="T77" fmla="*/ 68 h 108"/>
                <a:gd name="T78" fmla="*/ 239 w 76"/>
                <a:gd name="T79" fmla="*/ 74 h 108"/>
                <a:gd name="T80" fmla="*/ 304 w 76"/>
                <a:gd name="T81" fmla="*/ 89 h 108"/>
                <a:gd name="T82" fmla="*/ 304 w 76"/>
                <a:gd name="T83" fmla="*/ 97 h 108"/>
                <a:gd name="T84" fmla="*/ 304 w 76"/>
                <a:gd name="T85" fmla="*/ 107 h 108"/>
                <a:gd name="T86" fmla="*/ 380 w 76"/>
                <a:gd name="T87" fmla="*/ 119 h 108"/>
                <a:gd name="T88" fmla="*/ 398 w 76"/>
                <a:gd name="T89" fmla="*/ 115 h 108"/>
                <a:gd name="T90" fmla="*/ 398 w 76"/>
                <a:gd name="T91" fmla="*/ 107 h 108"/>
                <a:gd name="T92" fmla="*/ 465 w 76"/>
                <a:gd name="T93" fmla="*/ 107 h 108"/>
                <a:gd name="T94" fmla="*/ 513 w 76"/>
                <a:gd name="T95" fmla="*/ 122 h 108"/>
                <a:gd name="T96" fmla="*/ 515 w 76"/>
                <a:gd name="T97" fmla="*/ 122 h 108"/>
                <a:gd name="T98" fmla="*/ 515 w 76"/>
                <a:gd name="T99" fmla="*/ 119 h 108"/>
                <a:gd name="T100" fmla="*/ 629 w 76"/>
                <a:gd name="T101" fmla="*/ 122 h 108"/>
                <a:gd name="T102" fmla="*/ 569 w 76"/>
                <a:gd name="T103" fmla="*/ 126 h 108"/>
                <a:gd name="T104" fmla="*/ 590 w 76"/>
                <a:gd name="T105" fmla="*/ 133 h 108"/>
                <a:gd name="T106" fmla="*/ 652 w 76"/>
                <a:gd name="T107" fmla="*/ 135 h 108"/>
                <a:gd name="T108" fmla="*/ 652 w 76"/>
                <a:gd name="T109" fmla="*/ 154 h 1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6"/>
                <a:gd name="T166" fmla="*/ 0 h 108"/>
                <a:gd name="T167" fmla="*/ 76 w 76"/>
                <a:gd name="T168" fmla="*/ 108 h 1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6" h="108">
                  <a:moveTo>
                    <a:pt x="76" y="108"/>
                  </a:moveTo>
                  <a:lnTo>
                    <a:pt x="74" y="102"/>
                  </a:lnTo>
                  <a:lnTo>
                    <a:pt x="67" y="97"/>
                  </a:lnTo>
                  <a:lnTo>
                    <a:pt x="65" y="95"/>
                  </a:lnTo>
                  <a:lnTo>
                    <a:pt x="59" y="89"/>
                  </a:lnTo>
                  <a:lnTo>
                    <a:pt x="54" y="86"/>
                  </a:lnTo>
                  <a:lnTo>
                    <a:pt x="52" y="80"/>
                  </a:lnTo>
                  <a:lnTo>
                    <a:pt x="50" y="82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46" y="86"/>
                  </a:lnTo>
                  <a:lnTo>
                    <a:pt x="35" y="82"/>
                  </a:lnTo>
                  <a:lnTo>
                    <a:pt x="31" y="86"/>
                  </a:lnTo>
                  <a:lnTo>
                    <a:pt x="28" y="86"/>
                  </a:lnTo>
                  <a:lnTo>
                    <a:pt x="24" y="82"/>
                  </a:lnTo>
                  <a:lnTo>
                    <a:pt x="20" y="80"/>
                  </a:lnTo>
                  <a:lnTo>
                    <a:pt x="22" y="74"/>
                  </a:lnTo>
                  <a:lnTo>
                    <a:pt x="22" y="69"/>
                  </a:lnTo>
                  <a:lnTo>
                    <a:pt x="20" y="69"/>
                  </a:lnTo>
                  <a:lnTo>
                    <a:pt x="16" y="74"/>
                  </a:lnTo>
                  <a:lnTo>
                    <a:pt x="13" y="71"/>
                  </a:lnTo>
                  <a:lnTo>
                    <a:pt x="7" y="54"/>
                  </a:lnTo>
                  <a:lnTo>
                    <a:pt x="0" y="39"/>
                  </a:lnTo>
                  <a:lnTo>
                    <a:pt x="7" y="43"/>
                  </a:lnTo>
                  <a:lnTo>
                    <a:pt x="9" y="48"/>
                  </a:lnTo>
                  <a:lnTo>
                    <a:pt x="13" y="43"/>
                  </a:lnTo>
                  <a:lnTo>
                    <a:pt x="9" y="32"/>
                  </a:lnTo>
                  <a:lnTo>
                    <a:pt x="9" y="20"/>
                  </a:lnTo>
                  <a:lnTo>
                    <a:pt x="13" y="0"/>
                  </a:lnTo>
                  <a:lnTo>
                    <a:pt x="20" y="0"/>
                  </a:lnTo>
                  <a:lnTo>
                    <a:pt x="31" y="4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9"/>
                  </a:lnTo>
                  <a:lnTo>
                    <a:pt x="35" y="20"/>
                  </a:lnTo>
                  <a:lnTo>
                    <a:pt x="44" y="24"/>
                  </a:lnTo>
                  <a:lnTo>
                    <a:pt x="44" y="32"/>
                  </a:lnTo>
                  <a:lnTo>
                    <a:pt x="39" y="43"/>
                  </a:lnTo>
                  <a:lnTo>
                    <a:pt x="31" y="48"/>
                  </a:lnTo>
                  <a:lnTo>
                    <a:pt x="28" y="54"/>
                  </a:lnTo>
                  <a:lnTo>
                    <a:pt x="35" y="65"/>
                  </a:lnTo>
                  <a:lnTo>
                    <a:pt x="35" y="69"/>
                  </a:lnTo>
                  <a:lnTo>
                    <a:pt x="35" y="74"/>
                  </a:lnTo>
                  <a:lnTo>
                    <a:pt x="44" y="80"/>
                  </a:lnTo>
                  <a:lnTo>
                    <a:pt x="46" y="78"/>
                  </a:lnTo>
                  <a:lnTo>
                    <a:pt x="46" y="74"/>
                  </a:lnTo>
                  <a:lnTo>
                    <a:pt x="54" y="74"/>
                  </a:lnTo>
                  <a:lnTo>
                    <a:pt x="59" y="82"/>
                  </a:lnTo>
                  <a:lnTo>
                    <a:pt x="61" y="82"/>
                  </a:lnTo>
                  <a:lnTo>
                    <a:pt x="61" y="80"/>
                  </a:lnTo>
                  <a:lnTo>
                    <a:pt x="74" y="82"/>
                  </a:lnTo>
                  <a:lnTo>
                    <a:pt x="67" y="86"/>
                  </a:lnTo>
                  <a:lnTo>
                    <a:pt x="69" y="93"/>
                  </a:lnTo>
                  <a:lnTo>
                    <a:pt x="76" y="95"/>
                  </a:lnTo>
                  <a:lnTo>
                    <a:pt x="76" y="108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8" name="Freeform 131"/>
            <p:cNvSpPr>
              <a:spLocks noChangeAspect="1"/>
            </p:cNvSpPr>
            <p:nvPr/>
          </p:nvSpPr>
          <p:spPr bwMode="auto">
            <a:xfrm>
              <a:off x="4806" y="2525"/>
              <a:ext cx="81" cy="78"/>
            </a:xfrm>
            <a:custGeom>
              <a:avLst/>
              <a:gdLst>
                <a:gd name="T0" fmla="*/ 515 w 73"/>
                <a:gd name="T1" fmla="*/ 126 h 76"/>
                <a:gd name="T2" fmla="*/ 465 w 73"/>
                <a:gd name="T3" fmla="*/ 120 h 76"/>
                <a:gd name="T4" fmla="*/ 465 w 73"/>
                <a:gd name="T5" fmla="*/ 115 h 76"/>
                <a:gd name="T6" fmla="*/ 465 w 73"/>
                <a:gd name="T7" fmla="*/ 109 h 76"/>
                <a:gd name="T8" fmla="*/ 465 w 73"/>
                <a:gd name="T9" fmla="*/ 115 h 76"/>
                <a:gd name="T10" fmla="*/ 320 w 73"/>
                <a:gd name="T11" fmla="*/ 109 h 76"/>
                <a:gd name="T12" fmla="*/ 279 w 73"/>
                <a:gd name="T13" fmla="*/ 82 h 76"/>
                <a:gd name="T14" fmla="*/ 320 w 73"/>
                <a:gd name="T15" fmla="*/ 74 h 76"/>
                <a:gd name="T16" fmla="*/ 279 w 73"/>
                <a:gd name="T17" fmla="*/ 60 h 76"/>
                <a:gd name="T18" fmla="*/ 210 w 73"/>
                <a:gd name="T19" fmla="*/ 55 h 76"/>
                <a:gd name="T20" fmla="*/ 225 w 73"/>
                <a:gd name="T21" fmla="*/ 74 h 76"/>
                <a:gd name="T22" fmla="*/ 189 w 73"/>
                <a:gd name="T23" fmla="*/ 64 h 76"/>
                <a:gd name="T24" fmla="*/ 138 w 73"/>
                <a:gd name="T25" fmla="*/ 60 h 76"/>
                <a:gd name="T26" fmla="*/ 138 w 73"/>
                <a:gd name="T27" fmla="*/ 64 h 76"/>
                <a:gd name="T28" fmla="*/ 102 w 73"/>
                <a:gd name="T29" fmla="*/ 64 h 76"/>
                <a:gd name="T30" fmla="*/ 83 w 73"/>
                <a:gd name="T31" fmla="*/ 55 h 76"/>
                <a:gd name="T32" fmla="*/ 4 w 73"/>
                <a:gd name="T33" fmla="*/ 64 h 76"/>
                <a:gd name="T34" fmla="*/ 0 w 73"/>
                <a:gd name="T35" fmla="*/ 82 h 76"/>
                <a:gd name="T36" fmla="*/ 0 w 73"/>
                <a:gd name="T37" fmla="*/ 74 h 76"/>
                <a:gd name="T38" fmla="*/ 0 w 73"/>
                <a:gd name="T39" fmla="*/ 51 h 76"/>
                <a:gd name="T40" fmla="*/ 102 w 73"/>
                <a:gd name="T41" fmla="*/ 48 h 76"/>
                <a:gd name="T42" fmla="*/ 138 w 73"/>
                <a:gd name="T43" fmla="*/ 42 h 76"/>
                <a:gd name="T44" fmla="*/ 225 w 73"/>
                <a:gd name="T45" fmla="*/ 40 h 76"/>
                <a:gd name="T46" fmla="*/ 234 w 73"/>
                <a:gd name="T47" fmla="*/ 46 h 76"/>
                <a:gd name="T48" fmla="*/ 225 w 73"/>
                <a:gd name="T49" fmla="*/ 48 h 76"/>
                <a:gd name="T50" fmla="*/ 225 w 73"/>
                <a:gd name="T51" fmla="*/ 51 h 76"/>
                <a:gd name="T52" fmla="*/ 320 w 73"/>
                <a:gd name="T53" fmla="*/ 46 h 76"/>
                <a:gd name="T54" fmla="*/ 320 w 73"/>
                <a:gd name="T55" fmla="*/ 40 h 76"/>
                <a:gd name="T56" fmla="*/ 418 w 73"/>
                <a:gd name="T57" fmla="*/ 42 h 76"/>
                <a:gd name="T58" fmla="*/ 418 w 73"/>
                <a:gd name="T59" fmla="*/ 13 h 76"/>
                <a:gd name="T60" fmla="*/ 424 w 73"/>
                <a:gd name="T61" fmla="*/ 15 h 76"/>
                <a:gd name="T62" fmla="*/ 465 w 73"/>
                <a:gd name="T63" fmla="*/ 13 h 76"/>
                <a:gd name="T64" fmla="*/ 515 w 73"/>
                <a:gd name="T65" fmla="*/ 13 h 76"/>
                <a:gd name="T66" fmla="*/ 465 w 73"/>
                <a:gd name="T67" fmla="*/ 0 h 76"/>
                <a:gd name="T68" fmla="*/ 571 w 73"/>
                <a:gd name="T69" fmla="*/ 7 h 76"/>
                <a:gd name="T70" fmla="*/ 599 w 73"/>
                <a:gd name="T71" fmla="*/ 9 h 76"/>
                <a:gd name="T72" fmla="*/ 599 w 73"/>
                <a:gd name="T73" fmla="*/ 40 h 76"/>
                <a:gd name="T74" fmla="*/ 595 w 73"/>
                <a:gd name="T75" fmla="*/ 42 h 76"/>
                <a:gd name="T76" fmla="*/ 648 w 73"/>
                <a:gd name="T77" fmla="*/ 42 h 76"/>
                <a:gd name="T78" fmla="*/ 648 w 73"/>
                <a:gd name="T79" fmla="*/ 55 h 76"/>
                <a:gd name="T80" fmla="*/ 676 w 73"/>
                <a:gd name="T81" fmla="*/ 74 h 76"/>
                <a:gd name="T82" fmla="*/ 599 w 73"/>
                <a:gd name="T83" fmla="*/ 74 h 76"/>
                <a:gd name="T84" fmla="*/ 648 w 73"/>
                <a:gd name="T85" fmla="*/ 103 h 76"/>
                <a:gd name="T86" fmla="*/ 599 w 73"/>
                <a:gd name="T87" fmla="*/ 103 h 76"/>
                <a:gd name="T88" fmla="*/ 571 w 73"/>
                <a:gd name="T89" fmla="*/ 74 h 76"/>
                <a:gd name="T90" fmla="*/ 465 w 73"/>
                <a:gd name="T91" fmla="*/ 90 h 76"/>
                <a:gd name="T92" fmla="*/ 538 w 73"/>
                <a:gd name="T93" fmla="*/ 103 h 76"/>
                <a:gd name="T94" fmla="*/ 515 w 73"/>
                <a:gd name="T95" fmla="*/ 126 h 7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"/>
                <a:gd name="T145" fmla="*/ 0 h 76"/>
                <a:gd name="T146" fmla="*/ 73 w 73"/>
                <a:gd name="T147" fmla="*/ 76 h 7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" h="76">
                  <a:moveTo>
                    <a:pt x="54" y="76"/>
                  </a:moveTo>
                  <a:lnTo>
                    <a:pt x="50" y="72"/>
                  </a:lnTo>
                  <a:lnTo>
                    <a:pt x="50" y="69"/>
                  </a:lnTo>
                  <a:lnTo>
                    <a:pt x="50" y="65"/>
                  </a:lnTo>
                  <a:lnTo>
                    <a:pt x="50" y="69"/>
                  </a:lnTo>
                  <a:lnTo>
                    <a:pt x="35" y="65"/>
                  </a:lnTo>
                  <a:lnTo>
                    <a:pt x="30" y="50"/>
                  </a:lnTo>
                  <a:lnTo>
                    <a:pt x="35" y="46"/>
                  </a:lnTo>
                  <a:lnTo>
                    <a:pt x="30" y="39"/>
                  </a:lnTo>
                  <a:lnTo>
                    <a:pt x="22" y="35"/>
                  </a:lnTo>
                  <a:lnTo>
                    <a:pt x="24" y="46"/>
                  </a:lnTo>
                  <a:lnTo>
                    <a:pt x="19" y="41"/>
                  </a:lnTo>
                  <a:lnTo>
                    <a:pt x="15" y="39"/>
                  </a:lnTo>
                  <a:lnTo>
                    <a:pt x="15" y="41"/>
                  </a:lnTo>
                  <a:lnTo>
                    <a:pt x="11" y="41"/>
                  </a:lnTo>
                  <a:lnTo>
                    <a:pt x="9" y="35"/>
                  </a:lnTo>
                  <a:lnTo>
                    <a:pt x="4" y="41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31"/>
                  </a:lnTo>
                  <a:lnTo>
                    <a:pt x="11" y="28"/>
                  </a:lnTo>
                  <a:lnTo>
                    <a:pt x="15" y="22"/>
                  </a:lnTo>
                  <a:lnTo>
                    <a:pt x="24" y="20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4" y="31"/>
                  </a:lnTo>
                  <a:lnTo>
                    <a:pt x="35" y="26"/>
                  </a:lnTo>
                  <a:lnTo>
                    <a:pt x="35" y="20"/>
                  </a:lnTo>
                  <a:lnTo>
                    <a:pt x="43" y="22"/>
                  </a:lnTo>
                  <a:lnTo>
                    <a:pt x="43" y="13"/>
                  </a:lnTo>
                  <a:lnTo>
                    <a:pt x="45" y="15"/>
                  </a:lnTo>
                  <a:lnTo>
                    <a:pt x="50" y="13"/>
                  </a:lnTo>
                  <a:lnTo>
                    <a:pt x="54" y="13"/>
                  </a:lnTo>
                  <a:lnTo>
                    <a:pt x="50" y="0"/>
                  </a:lnTo>
                  <a:lnTo>
                    <a:pt x="60" y="7"/>
                  </a:lnTo>
                  <a:lnTo>
                    <a:pt x="65" y="9"/>
                  </a:lnTo>
                  <a:lnTo>
                    <a:pt x="65" y="20"/>
                  </a:lnTo>
                  <a:lnTo>
                    <a:pt x="63" y="22"/>
                  </a:lnTo>
                  <a:lnTo>
                    <a:pt x="69" y="22"/>
                  </a:lnTo>
                  <a:lnTo>
                    <a:pt x="69" y="35"/>
                  </a:lnTo>
                  <a:lnTo>
                    <a:pt x="73" y="46"/>
                  </a:lnTo>
                  <a:lnTo>
                    <a:pt x="65" y="46"/>
                  </a:lnTo>
                  <a:lnTo>
                    <a:pt x="69" y="61"/>
                  </a:lnTo>
                  <a:lnTo>
                    <a:pt x="65" y="61"/>
                  </a:lnTo>
                  <a:lnTo>
                    <a:pt x="60" y="46"/>
                  </a:lnTo>
                  <a:lnTo>
                    <a:pt x="50" y="54"/>
                  </a:lnTo>
                  <a:lnTo>
                    <a:pt x="58" y="61"/>
                  </a:lnTo>
                  <a:lnTo>
                    <a:pt x="54" y="76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39" name="Freeform 132"/>
            <p:cNvSpPr>
              <a:spLocks noChangeAspect="1"/>
            </p:cNvSpPr>
            <p:nvPr/>
          </p:nvSpPr>
          <p:spPr bwMode="auto">
            <a:xfrm>
              <a:off x="4799" y="2491"/>
              <a:ext cx="22" cy="26"/>
            </a:xfrm>
            <a:custGeom>
              <a:avLst/>
              <a:gdLst>
                <a:gd name="T0" fmla="*/ 0 w 19"/>
                <a:gd name="T1" fmla="*/ 26 h 26"/>
                <a:gd name="T2" fmla="*/ 0 w 19"/>
                <a:gd name="T3" fmla="*/ 8 h 26"/>
                <a:gd name="T4" fmla="*/ 0 w 19"/>
                <a:gd name="T5" fmla="*/ 0 h 26"/>
                <a:gd name="T6" fmla="*/ 145 w 19"/>
                <a:gd name="T7" fmla="*/ 0 h 26"/>
                <a:gd name="T8" fmla="*/ 226 w 19"/>
                <a:gd name="T9" fmla="*/ 6 h 26"/>
                <a:gd name="T10" fmla="*/ 286 w 19"/>
                <a:gd name="T11" fmla="*/ 2 h 26"/>
                <a:gd name="T12" fmla="*/ 443 w 19"/>
                <a:gd name="T13" fmla="*/ 6 h 26"/>
                <a:gd name="T14" fmla="*/ 443 w 19"/>
                <a:gd name="T15" fmla="*/ 11 h 26"/>
                <a:gd name="T16" fmla="*/ 386 w 19"/>
                <a:gd name="T17" fmla="*/ 15 h 26"/>
                <a:gd name="T18" fmla="*/ 0 w 19"/>
                <a:gd name="T19" fmla="*/ 26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6"/>
                <a:gd name="T32" fmla="*/ 19 w 19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6">
                  <a:moveTo>
                    <a:pt x="0" y="26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0" y="6"/>
                  </a:lnTo>
                  <a:lnTo>
                    <a:pt x="13" y="2"/>
                  </a:lnTo>
                  <a:lnTo>
                    <a:pt x="19" y="6"/>
                  </a:lnTo>
                  <a:lnTo>
                    <a:pt x="19" y="11"/>
                  </a:lnTo>
                  <a:lnTo>
                    <a:pt x="17" y="15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0" name="Freeform 133"/>
            <p:cNvSpPr>
              <a:spLocks noChangeAspect="1"/>
            </p:cNvSpPr>
            <p:nvPr/>
          </p:nvSpPr>
          <p:spPr bwMode="auto">
            <a:xfrm>
              <a:off x="4714" y="2495"/>
              <a:ext cx="45" cy="53"/>
            </a:xfrm>
            <a:custGeom>
              <a:avLst/>
              <a:gdLst>
                <a:gd name="T0" fmla="*/ 0 w 41"/>
                <a:gd name="T1" fmla="*/ 72 h 52"/>
                <a:gd name="T2" fmla="*/ 79 w 41"/>
                <a:gd name="T3" fmla="*/ 63 h 52"/>
                <a:gd name="T4" fmla="*/ 112 w 41"/>
                <a:gd name="T5" fmla="*/ 61 h 52"/>
                <a:gd name="T6" fmla="*/ 180 w 41"/>
                <a:gd name="T7" fmla="*/ 48 h 52"/>
                <a:gd name="T8" fmla="*/ 199 w 41"/>
                <a:gd name="T9" fmla="*/ 22 h 52"/>
                <a:gd name="T10" fmla="*/ 256 w 41"/>
                <a:gd name="T11" fmla="*/ 20 h 52"/>
                <a:gd name="T12" fmla="*/ 256 w 41"/>
                <a:gd name="T13" fmla="*/ 9 h 52"/>
                <a:gd name="T14" fmla="*/ 286 w 41"/>
                <a:gd name="T15" fmla="*/ 0 h 52"/>
                <a:gd name="T16" fmla="*/ 286 w 41"/>
                <a:gd name="T17" fmla="*/ 7 h 52"/>
                <a:gd name="T18" fmla="*/ 286 w 41"/>
                <a:gd name="T19" fmla="*/ 9 h 52"/>
                <a:gd name="T20" fmla="*/ 308 w 41"/>
                <a:gd name="T21" fmla="*/ 20 h 52"/>
                <a:gd name="T22" fmla="*/ 256 w 41"/>
                <a:gd name="T23" fmla="*/ 22 h 52"/>
                <a:gd name="T24" fmla="*/ 256 w 41"/>
                <a:gd name="T25" fmla="*/ 48 h 52"/>
                <a:gd name="T26" fmla="*/ 199 w 41"/>
                <a:gd name="T27" fmla="*/ 50 h 52"/>
                <a:gd name="T28" fmla="*/ 180 w 41"/>
                <a:gd name="T29" fmla="*/ 61 h 52"/>
                <a:gd name="T30" fmla="*/ 112 w 41"/>
                <a:gd name="T31" fmla="*/ 63 h 52"/>
                <a:gd name="T32" fmla="*/ 66 w 41"/>
                <a:gd name="T33" fmla="*/ 70 h 52"/>
                <a:gd name="T34" fmla="*/ 0 w 41"/>
                <a:gd name="T35" fmla="*/ 72 h 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1"/>
                <a:gd name="T55" fmla="*/ 0 h 52"/>
                <a:gd name="T56" fmla="*/ 41 w 41"/>
                <a:gd name="T57" fmla="*/ 52 h 5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1" h="52">
                  <a:moveTo>
                    <a:pt x="0" y="52"/>
                  </a:moveTo>
                  <a:lnTo>
                    <a:pt x="11" y="43"/>
                  </a:lnTo>
                  <a:lnTo>
                    <a:pt x="15" y="41"/>
                  </a:lnTo>
                  <a:lnTo>
                    <a:pt x="24" y="28"/>
                  </a:lnTo>
                  <a:lnTo>
                    <a:pt x="28" y="22"/>
                  </a:lnTo>
                  <a:lnTo>
                    <a:pt x="34" y="20"/>
                  </a:lnTo>
                  <a:lnTo>
                    <a:pt x="34" y="9"/>
                  </a:lnTo>
                  <a:lnTo>
                    <a:pt x="39" y="0"/>
                  </a:lnTo>
                  <a:lnTo>
                    <a:pt x="39" y="7"/>
                  </a:lnTo>
                  <a:lnTo>
                    <a:pt x="39" y="9"/>
                  </a:lnTo>
                  <a:lnTo>
                    <a:pt x="41" y="20"/>
                  </a:lnTo>
                  <a:lnTo>
                    <a:pt x="34" y="22"/>
                  </a:lnTo>
                  <a:lnTo>
                    <a:pt x="34" y="28"/>
                  </a:lnTo>
                  <a:lnTo>
                    <a:pt x="28" y="30"/>
                  </a:lnTo>
                  <a:lnTo>
                    <a:pt x="24" y="41"/>
                  </a:lnTo>
                  <a:lnTo>
                    <a:pt x="15" y="43"/>
                  </a:lnTo>
                  <a:lnTo>
                    <a:pt x="9" y="5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70C0"/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1" name="Freeform 134"/>
            <p:cNvSpPr>
              <a:spLocks noChangeAspect="1"/>
            </p:cNvSpPr>
            <p:nvPr/>
          </p:nvSpPr>
          <p:spPr bwMode="auto">
            <a:xfrm>
              <a:off x="4839" y="2476"/>
              <a:ext cx="29" cy="30"/>
            </a:xfrm>
            <a:custGeom>
              <a:avLst/>
              <a:gdLst>
                <a:gd name="T0" fmla="*/ 284 w 26"/>
                <a:gd name="T1" fmla="*/ 30 h 30"/>
                <a:gd name="T2" fmla="*/ 228 w 26"/>
                <a:gd name="T3" fmla="*/ 26 h 30"/>
                <a:gd name="T4" fmla="*/ 148 w 26"/>
                <a:gd name="T5" fmla="*/ 15 h 30"/>
                <a:gd name="T6" fmla="*/ 77 w 26"/>
                <a:gd name="T7" fmla="*/ 15 h 30"/>
                <a:gd name="T8" fmla="*/ 0 w 26"/>
                <a:gd name="T9" fmla="*/ 4 h 30"/>
                <a:gd name="T10" fmla="*/ 165 w 26"/>
                <a:gd name="T11" fmla="*/ 0 h 30"/>
                <a:gd name="T12" fmla="*/ 228 w 26"/>
                <a:gd name="T13" fmla="*/ 4 h 30"/>
                <a:gd name="T14" fmla="*/ 254 w 26"/>
                <a:gd name="T15" fmla="*/ 8 h 30"/>
                <a:gd name="T16" fmla="*/ 228 w 26"/>
                <a:gd name="T17" fmla="*/ 15 h 30"/>
                <a:gd name="T18" fmla="*/ 284 w 26"/>
                <a:gd name="T19" fmla="*/ 30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0"/>
                <a:gd name="T32" fmla="*/ 26 w 26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0">
                  <a:moveTo>
                    <a:pt x="26" y="30"/>
                  </a:moveTo>
                  <a:lnTo>
                    <a:pt x="20" y="26"/>
                  </a:lnTo>
                  <a:lnTo>
                    <a:pt x="13" y="15"/>
                  </a:lnTo>
                  <a:lnTo>
                    <a:pt x="7" y="15"/>
                  </a:lnTo>
                  <a:lnTo>
                    <a:pt x="0" y="4"/>
                  </a:lnTo>
                  <a:lnTo>
                    <a:pt x="15" y="0"/>
                  </a:lnTo>
                  <a:lnTo>
                    <a:pt x="20" y="4"/>
                  </a:lnTo>
                  <a:lnTo>
                    <a:pt x="22" y="8"/>
                  </a:lnTo>
                  <a:lnTo>
                    <a:pt x="20" y="15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2" name="Freeform 135"/>
            <p:cNvSpPr>
              <a:spLocks noChangeAspect="1"/>
            </p:cNvSpPr>
            <p:nvPr/>
          </p:nvSpPr>
          <p:spPr bwMode="auto">
            <a:xfrm>
              <a:off x="4810" y="2506"/>
              <a:ext cx="21" cy="35"/>
            </a:xfrm>
            <a:custGeom>
              <a:avLst/>
              <a:gdLst>
                <a:gd name="T0" fmla="*/ 264 w 18"/>
                <a:gd name="T1" fmla="*/ 56 h 34"/>
                <a:gd name="T2" fmla="*/ 194 w 18"/>
                <a:gd name="T3" fmla="*/ 46 h 34"/>
                <a:gd name="T4" fmla="*/ 3 w 18"/>
                <a:gd name="T5" fmla="*/ 46 h 34"/>
                <a:gd name="T6" fmla="*/ 0 w 18"/>
                <a:gd name="T7" fmla="*/ 39 h 34"/>
                <a:gd name="T8" fmla="*/ 194 w 18"/>
                <a:gd name="T9" fmla="*/ 15 h 34"/>
                <a:gd name="T10" fmla="*/ 264 w 18"/>
                <a:gd name="T11" fmla="*/ 2 h 34"/>
                <a:gd name="T12" fmla="*/ 415 w 18"/>
                <a:gd name="T13" fmla="*/ 0 h 34"/>
                <a:gd name="T14" fmla="*/ 484 w 18"/>
                <a:gd name="T15" fmla="*/ 2 h 34"/>
                <a:gd name="T16" fmla="*/ 415 w 18"/>
                <a:gd name="T17" fmla="*/ 11 h 34"/>
                <a:gd name="T18" fmla="*/ 264 w 18"/>
                <a:gd name="T19" fmla="*/ 44 h 34"/>
                <a:gd name="T20" fmla="*/ 415 w 18"/>
                <a:gd name="T21" fmla="*/ 56 h 34"/>
                <a:gd name="T22" fmla="*/ 264 w 18"/>
                <a:gd name="T23" fmla="*/ 56 h 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34"/>
                <a:gd name="T38" fmla="*/ 18 w 18"/>
                <a:gd name="T39" fmla="*/ 34 h 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34">
                  <a:moveTo>
                    <a:pt x="11" y="34"/>
                  </a:moveTo>
                  <a:lnTo>
                    <a:pt x="7" y="26"/>
                  </a:lnTo>
                  <a:lnTo>
                    <a:pt x="3" y="26"/>
                  </a:lnTo>
                  <a:lnTo>
                    <a:pt x="0" y="19"/>
                  </a:lnTo>
                  <a:lnTo>
                    <a:pt x="7" y="15"/>
                  </a:lnTo>
                  <a:lnTo>
                    <a:pt x="11" y="2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15" y="11"/>
                  </a:lnTo>
                  <a:lnTo>
                    <a:pt x="11" y="24"/>
                  </a:lnTo>
                  <a:lnTo>
                    <a:pt x="15" y="34"/>
                  </a:lnTo>
                  <a:lnTo>
                    <a:pt x="11" y="34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3" name="Freeform 136"/>
            <p:cNvSpPr>
              <a:spLocks noChangeAspect="1"/>
            </p:cNvSpPr>
            <p:nvPr/>
          </p:nvSpPr>
          <p:spPr bwMode="auto">
            <a:xfrm>
              <a:off x="4845" y="2495"/>
              <a:ext cx="16" cy="26"/>
            </a:xfrm>
            <a:custGeom>
              <a:avLst/>
              <a:gdLst>
                <a:gd name="T0" fmla="*/ 42 w 15"/>
                <a:gd name="T1" fmla="*/ 26 h 26"/>
                <a:gd name="T2" fmla="*/ 4 w 15"/>
                <a:gd name="T3" fmla="*/ 11 h 26"/>
                <a:gd name="T4" fmla="*/ 2 w 15"/>
                <a:gd name="T5" fmla="*/ 11 h 26"/>
                <a:gd name="T6" fmla="*/ 0 w 15"/>
                <a:gd name="T7" fmla="*/ 0 h 26"/>
                <a:gd name="T8" fmla="*/ 2 w 15"/>
                <a:gd name="T9" fmla="*/ 4 h 26"/>
                <a:gd name="T10" fmla="*/ 37 w 15"/>
                <a:gd name="T11" fmla="*/ 4 h 26"/>
                <a:gd name="T12" fmla="*/ 37 w 15"/>
                <a:gd name="T13" fmla="*/ 11 h 26"/>
                <a:gd name="T14" fmla="*/ 58 w 15"/>
                <a:gd name="T15" fmla="*/ 22 h 26"/>
                <a:gd name="T16" fmla="*/ 42 w 15"/>
                <a:gd name="T17" fmla="*/ 26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6"/>
                <a:gd name="T29" fmla="*/ 15 w 15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6">
                  <a:moveTo>
                    <a:pt x="10" y="26"/>
                  </a:moveTo>
                  <a:lnTo>
                    <a:pt x="4" y="11"/>
                  </a:lnTo>
                  <a:lnTo>
                    <a:pt x="2" y="11"/>
                  </a:lnTo>
                  <a:lnTo>
                    <a:pt x="0" y="0"/>
                  </a:lnTo>
                  <a:lnTo>
                    <a:pt x="2" y="4"/>
                  </a:lnTo>
                  <a:lnTo>
                    <a:pt x="8" y="4"/>
                  </a:lnTo>
                  <a:lnTo>
                    <a:pt x="8" y="11"/>
                  </a:lnTo>
                  <a:lnTo>
                    <a:pt x="15" y="22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4" name="Freeform 137"/>
            <p:cNvSpPr>
              <a:spLocks noChangeAspect="1"/>
            </p:cNvSpPr>
            <p:nvPr/>
          </p:nvSpPr>
          <p:spPr bwMode="auto">
            <a:xfrm>
              <a:off x="4827" y="2502"/>
              <a:ext cx="8" cy="29"/>
            </a:xfrm>
            <a:custGeom>
              <a:avLst/>
              <a:gdLst>
                <a:gd name="T0" fmla="*/ 3 w 7"/>
                <a:gd name="T1" fmla="*/ 54 h 28"/>
                <a:gd name="T2" fmla="*/ 0 w 7"/>
                <a:gd name="T3" fmla="*/ 54 h 28"/>
                <a:gd name="T4" fmla="*/ 95 w 7"/>
                <a:gd name="T5" fmla="*/ 13 h 28"/>
                <a:gd name="T6" fmla="*/ 125 w 7"/>
                <a:gd name="T7" fmla="*/ 0 h 28"/>
                <a:gd name="T8" fmla="*/ 125 w 7"/>
                <a:gd name="T9" fmla="*/ 35 h 28"/>
                <a:gd name="T10" fmla="*/ 95 w 7"/>
                <a:gd name="T11" fmla="*/ 39 h 28"/>
                <a:gd name="T12" fmla="*/ 3 w 7"/>
                <a:gd name="T13" fmla="*/ 54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28"/>
                <a:gd name="T23" fmla="*/ 7 w 7"/>
                <a:gd name="T24" fmla="*/ 28 h 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28">
                  <a:moveTo>
                    <a:pt x="3" y="28"/>
                  </a:moveTo>
                  <a:lnTo>
                    <a:pt x="0" y="28"/>
                  </a:lnTo>
                  <a:lnTo>
                    <a:pt x="5" y="13"/>
                  </a:lnTo>
                  <a:lnTo>
                    <a:pt x="7" y="0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3" y="28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5" name="Freeform 138"/>
            <p:cNvSpPr>
              <a:spLocks noChangeAspect="1"/>
            </p:cNvSpPr>
            <p:nvPr/>
          </p:nvSpPr>
          <p:spPr bwMode="auto">
            <a:xfrm>
              <a:off x="4835" y="2521"/>
              <a:ext cx="16" cy="10"/>
            </a:xfrm>
            <a:custGeom>
              <a:avLst/>
              <a:gdLst>
                <a:gd name="T0" fmla="*/ 45 w 15"/>
                <a:gd name="T1" fmla="*/ 70 h 9"/>
                <a:gd name="T2" fmla="*/ 0 w 15"/>
                <a:gd name="T3" fmla="*/ 4 h 9"/>
                <a:gd name="T4" fmla="*/ 4 w 15"/>
                <a:gd name="T5" fmla="*/ 2 h 9"/>
                <a:gd name="T6" fmla="*/ 45 w 15"/>
                <a:gd name="T7" fmla="*/ 0 h 9"/>
                <a:gd name="T8" fmla="*/ 58 w 15"/>
                <a:gd name="T9" fmla="*/ 2 h 9"/>
                <a:gd name="T10" fmla="*/ 45 w 15"/>
                <a:gd name="T11" fmla="*/ 7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11" y="9"/>
                  </a:moveTo>
                  <a:lnTo>
                    <a:pt x="0" y="4"/>
                  </a:lnTo>
                  <a:lnTo>
                    <a:pt x="4" y="2"/>
                  </a:lnTo>
                  <a:lnTo>
                    <a:pt x="11" y="0"/>
                  </a:lnTo>
                  <a:lnTo>
                    <a:pt x="15" y="2"/>
                  </a:lnTo>
                  <a:lnTo>
                    <a:pt x="11" y="9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6" name="Freeform 139"/>
            <p:cNvSpPr>
              <a:spLocks noChangeAspect="1"/>
            </p:cNvSpPr>
            <p:nvPr/>
          </p:nvSpPr>
          <p:spPr bwMode="auto">
            <a:xfrm>
              <a:off x="3216" y="2127"/>
              <a:ext cx="383" cy="292"/>
            </a:xfrm>
            <a:custGeom>
              <a:avLst/>
              <a:gdLst>
                <a:gd name="T0" fmla="*/ 192 w 348"/>
                <a:gd name="T1" fmla="*/ 76 h 287"/>
                <a:gd name="T2" fmla="*/ 316 w 348"/>
                <a:gd name="T3" fmla="*/ 63 h 287"/>
                <a:gd name="T4" fmla="*/ 390 w 348"/>
                <a:gd name="T5" fmla="*/ 54 h 287"/>
                <a:gd name="T6" fmla="*/ 316 w 348"/>
                <a:gd name="T7" fmla="*/ 15 h 287"/>
                <a:gd name="T8" fmla="*/ 464 w 348"/>
                <a:gd name="T9" fmla="*/ 8 h 287"/>
                <a:gd name="T10" fmla="*/ 703 w 348"/>
                <a:gd name="T11" fmla="*/ 4 h 287"/>
                <a:gd name="T12" fmla="*/ 1059 w 348"/>
                <a:gd name="T13" fmla="*/ 28 h 287"/>
                <a:gd name="T14" fmla="*/ 1158 w 348"/>
                <a:gd name="T15" fmla="*/ 54 h 287"/>
                <a:gd name="T16" fmla="*/ 1303 w 348"/>
                <a:gd name="T17" fmla="*/ 76 h 287"/>
                <a:gd name="T18" fmla="*/ 1657 w 348"/>
                <a:gd name="T19" fmla="*/ 78 h 287"/>
                <a:gd name="T20" fmla="*/ 1737 w 348"/>
                <a:gd name="T21" fmla="*/ 84 h 287"/>
                <a:gd name="T22" fmla="*/ 1832 w 348"/>
                <a:gd name="T23" fmla="*/ 107 h 287"/>
                <a:gd name="T24" fmla="*/ 1856 w 348"/>
                <a:gd name="T25" fmla="*/ 121 h 287"/>
                <a:gd name="T26" fmla="*/ 1912 w 348"/>
                <a:gd name="T27" fmla="*/ 132 h 287"/>
                <a:gd name="T28" fmla="*/ 1973 w 348"/>
                <a:gd name="T29" fmla="*/ 143 h 287"/>
                <a:gd name="T30" fmla="*/ 1965 w 348"/>
                <a:gd name="T31" fmla="*/ 148 h 287"/>
                <a:gd name="T32" fmla="*/ 2018 w 348"/>
                <a:gd name="T33" fmla="*/ 165 h 287"/>
                <a:gd name="T34" fmla="*/ 2104 w 348"/>
                <a:gd name="T35" fmla="*/ 192 h 287"/>
                <a:gd name="T36" fmla="*/ 2171 w 348"/>
                <a:gd name="T37" fmla="*/ 195 h 287"/>
                <a:gd name="T38" fmla="*/ 2221 w 348"/>
                <a:gd name="T39" fmla="*/ 214 h 287"/>
                <a:gd name="T40" fmla="*/ 2308 w 348"/>
                <a:gd name="T41" fmla="*/ 234 h 287"/>
                <a:gd name="T42" fmla="*/ 2723 w 348"/>
                <a:gd name="T43" fmla="*/ 242 h 287"/>
                <a:gd name="T44" fmla="*/ 2723 w 348"/>
                <a:gd name="T45" fmla="*/ 301 h 287"/>
                <a:gd name="T46" fmla="*/ 1912 w 348"/>
                <a:gd name="T47" fmla="*/ 347 h 287"/>
                <a:gd name="T48" fmla="*/ 1622 w 348"/>
                <a:gd name="T49" fmla="*/ 405 h 287"/>
                <a:gd name="T50" fmla="*/ 1376 w 348"/>
                <a:gd name="T51" fmla="*/ 367 h 287"/>
                <a:gd name="T52" fmla="*/ 1222 w 348"/>
                <a:gd name="T53" fmla="*/ 370 h 287"/>
                <a:gd name="T54" fmla="*/ 1217 w 348"/>
                <a:gd name="T55" fmla="*/ 386 h 287"/>
                <a:gd name="T56" fmla="*/ 1059 w 348"/>
                <a:gd name="T57" fmla="*/ 370 h 287"/>
                <a:gd name="T58" fmla="*/ 864 w 348"/>
                <a:gd name="T59" fmla="*/ 317 h 287"/>
                <a:gd name="T60" fmla="*/ 703 w 348"/>
                <a:gd name="T61" fmla="*/ 296 h 287"/>
                <a:gd name="T62" fmla="*/ 622 w 348"/>
                <a:gd name="T63" fmla="*/ 257 h 287"/>
                <a:gd name="T64" fmla="*/ 499 w 348"/>
                <a:gd name="T65" fmla="*/ 210 h 287"/>
                <a:gd name="T66" fmla="*/ 348 w 348"/>
                <a:gd name="T67" fmla="*/ 187 h 287"/>
                <a:gd name="T68" fmla="*/ 281 w 348"/>
                <a:gd name="T69" fmla="*/ 159 h 287"/>
                <a:gd name="T70" fmla="*/ 108 w 348"/>
                <a:gd name="T71" fmla="*/ 107 h 287"/>
                <a:gd name="T72" fmla="*/ 0 w 348"/>
                <a:gd name="T73" fmla="*/ 99 h 287"/>
                <a:gd name="T74" fmla="*/ 41 w 348"/>
                <a:gd name="T75" fmla="*/ 73 h 28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48"/>
                <a:gd name="T115" fmla="*/ 0 h 287"/>
                <a:gd name="T116" fmla="*/ 348 w 348"/>
                <a:gd name="T117" fmla="*/ 287 h 28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48" h="287">
                  <a:moveTo>
                    <a:pt x="5" y="53"/>
                  </a:moveTo>
                  <a:lnTo>
                    <a:pt x="24" y="56"/>
                  </a:lnTo>
                  <a:lnTo>
                    <a:pt x="39" y="43"/>
                  </a:lnTo>
                  <a:lnTo>
                    <a:pt x="48" y="38"/>
                  </a:lnTo>
                  <a:lnTo>
                    <a:pt x="50" y="34"/>
                  </a:lnTo>
                  <a:lnTo>
                    <a:pt x="54" y="30"/>
                  </a:lnTo>
                  <a:lnTo>
                    <a:pt x="39" y="15"/>
                  </a:lnTo>
                  <a:lnTo>
                    <a:pt x="39" y="12"/>
                  </a:lnTo>
                  <a:lnTo>
                    <a:pt x="58" y="8"/>
                  </a:lnTo>
                  <a:lnTo>
                    <a:pt x="71" y="0"/>
                  </a:lnTo>
                  <a:lnTo>
                    <a:pt x="89" y="4"/>
                  </a:lnTo>
                  <a:lnTo>
                    <a:pt x="119" y="23"/>
                  </a:lnTo>
                  <a:lnTo>
                    <a:pt x="132" y="28"/>
                  </a:lnTo>
                  <a:lnTo>
                    <a:pt x="134" y="30"/>
                  </a:lnTo>
                  <a:lnTo>
                    <a:pt x="145" y="34"/>
                  </a:lnTo>
                  <a:lnTo>
                    <a:pt x="145" y="47"/>
                  </a:lnTo>
                  <a:lnTo>
                    <a:pt x="164" y="56"/>
                  </a:lnTo>
                  <a:lnTo>
                    <a:pt x="194" y="56"/>
                  </a:lnTo>
                  <a:lnTo>
                    <a:pt x="207" y="58"/>
                  </a:lnTo>
                  <a:lnTo>
                    <a:pt x="210" y="64"/>
                  </a:lnTo>
                  <a:lnTo>
                    <a:pt x="218" y="64"/>
                  </a:lnTo>
                  <a:lnTo>
                    <a:pt x="222" y="73"/>
                  </a:lnTo>
                  <a:lnTo>
                    <a:pt x="229" y="77"/>
                  </a:lnTo>
                  <a:lnTo>
                    <a:pt x="229" y="84"/>
                  </a:lnTo>
                  <a:lnTo>
                    <a:pt x="233" y="84"/>
                  </a:lnTo>
                  <a:lnTo>
                    <a:pt x="233" y="86"/>
                  </a:lnTo>
                  <a:lnTo>
                    <a:pt x="240" y="92"/>
                  </a:lnTo>
                  <a:lnTo>
                    <a:pt x="246" y="94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8" y="114"/>
                  </a:lnTo>
                  <a:lnTo>
                    <a:pt x="253" y="118"/>
                  </a:lnTo>
                  <a:lnTo>
                    <a:pt x="259" y="127"/>
                  </a:lnTo>
                  <a:lnTo>
                    <a:pt x="264" y="136"/>
                  </a:lnTo>
                  <a:lnTo>
                    <a:pt x="268" y="136"/>
                  </a:lnTo>
                  <a:lnTo>
                    <a:pt x="272" y="138"/>
                  </a:lnTo>
                  <a:lnTo>
                    <a:pt x="274" y="144"/>
                  </a:lnTo>
                  <a:lnTo>
                    <a:pt x="279" y="151"/>
                  </a:lnTo>
                  <a:lnTo>
                    <a:pt x="287" y="159"/>
                  </a:lnTo>
                  <a:lnTo>
                    <a:pt x="289" y="166"/>
                  </a:lnTo>
                  <a:lnTo>
                    <a:pt x="337" y="174"/>
                  </a:lnTo>
                  <a:lnTo>
                    <a:pt x="341" y="172"/>
                  </a:lnTo>
                  <a:lnTo>
                    <a:pt x="348" y="183"/>
                  </a:lnTo>
                  <a:lnTo>
                    <a:pt x="341" y="213"/>
                  </a:lnTo>
                  <a:lnTo>
                    <a:pt x="292" y="233"/>
                  </a:lnTo>
                  <a:lnTo>
                    <a:pt x="240" y="246"/>
                  </a:lnTo>
                  <a:lnTo>
                    <a:pt x="212" y="282"/>
                  </a:lnTo>
                  <a:lnTo>
                    <a:pt x="203" y="287"/>
                  </a:lnTo>
                  <a:lnTo>
                    <a:pt x="203" y="274"/>
                  </a:lnTo>
                  <a:lnTo>
                    <a:pt x="173" y="259"/>
                  </a:lnTo>
                  <a:lnTo>
                    <a:pt x="160" y="261"/>
                  </a:lnTo>
                  <a:lnTo>
                    <a:pt x="153" y="261"/>
                  </a:lnTo>
                  <a:lnTo>
                    <a:pt x="151" y="261"/>
                  </a:lnTo>
                  <a:lnTo>
                    <a:pt x="151" y="274"/>
                  </a:lnTo>
                  <a:lnTo>
                    <a:pt x="143" y="278"/>
                  </a:lnTo>
                  <a:lnTo>
                    <a:pt x="132" y="261"/>
                  </a:lnTo>
                  <a:lnTo>
                    <a:pt x="123" y="252"/>
                  </a:lnTo>
                  <a:lnTo>
                    <a:pt x="108" y="226"/>
                  </a:lnTo>
                  <a:lnTo>
                    <a:pt x="99" y="211"/>
                  </a:lnTo>
                  <a:lnTo>
                    <a:pt x="89" y="209"/>
                  </a:lnTo>
                  <a:lnTo>
                    <a:pt x="78" y="194"/>
                  </a:lnTo>
                  <a:lnTo>
                    <a:pt x="78" y="183"/>
                  </a:lnTo>
                  <a:lnTo>
                    <a:pt x="78" y="174"/>
                  </a:lnTo>
                  <a:lnTo>
                    <a:pt x="63" y="148"/>
                  </a:lnTo>
                  <a:lnTo>
                    <a:pt x="50" y="142"/>
                  </a:lnTo>
                  <a:lnTo>
                    <a:pt x="43" y="133"/>
                  </a:lnTo>
                  <a:lnTo>
                    <a:pt x="48" y="129"/>
                  </a:lnTo>
                  <a:lnTo>
                    <a:pt x="35" y="114"/>
                  </a:lnTo>
                  <a:lnTo>
                    <a:pt x="24" y="92"/>
                  </a:lnTo>
                  <a:lnTo>
                    <a:pt x="13" y="77"/>
                  </a:lnTo>
                  <a:lnTo>
                    <a:pt x="9" y="73"/>
                  </a:lnTo>
                  <a:lnTo>
                    <a:pt x="0" y="73"/>
                  </a:lnTo>
                  <a:lnTo>
                    <a:pt x="5" y="62"/>
                  </a:lnTo>
                  <a:lnTo>
                    <a:pt x="5" y="5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7" name="Freeform 140"/>
            <p:cNvSpPr>
              <a:spLocks noChangeAspect="1"/>
            </p:cNvSpPr>
            <p:nvPr/>
          </p:nvSpPr>
          <p:spPr bwMode="auto">
            <a:xfrm>
              <a:off x="4039" y="2525"/>
              <a:ext cx="40" cy="69"/>
            </a:xfrm>
            <a:custGeom>
              <a:avLst/>
              <a:gdLst>
                <a:gd name="T0" fmla="*/ 80 w 37"/>
                <a:gd name="T1" fmla="*/ 118 h 67"/>
                <a:gd name="T2" fmla="*/ 50 w 37"/>
                <a:gd name="T3" fmla="*/ 103 h 67"/>
                <a:gd name="T4" fmla="*/ 6 w 37"/>
                <a:gd name="T5" fmla="*/ 71 h 67"/>
                <a:gd name="T6" fmla="*/ 0 w 37"/>
                <a:gd name="T7" fmla="*/ 48 h 67"/>
                <a:gd name="T8" fmla="*/ 4 w 37"/>
                <a:gd name="T9" fmla="*/ 48 h 67"/>
                <a:gd name="T10" fmla="*/ 6 w 37"/>
                <a:gd name="T11" fmla="*/ 15 h 67"/>
                <a:gd name="T12" fmla="*/ 4 w 37"/>
                <a:gd name="T13" fmla="*/ 13 h 67"/>
                <a:gd name="T14" fmla="*/ 6 w 37"/>
                <a:gd name="T15" fmla="*/ 11 h 67"/>
                <a:gd name="T16" fmla="*/ 50 w 37"/>
                <a:gd name="T17" fmla="*/ 5 h 67"/>
                <a:gd name="T18" fmla="*/ 6 w 37"/>
                <a:gd name="T19" fmla="*/ 0 h 67"/>
                <a:gd name="T20" fmla="*/ 123 w 37"/>
                <a:gd name="T21" fmla="*/ 11 h 67"/>
                <a:gd name="T22" fmla="*/ 123 w 37"/>
                <a:gd name="T23" fmla="*/ 13 h 67"/>
                <a:gd name="T24" fmla="*/ 156 w 37"/>
                <a:gd name="T25" fmla="*/ 42 h 67"/>
                <a:gd name="T26" fmla="*/ 203 w 37"/>
                <a:gd name="T27" fmla="*/ 67 h 67"/>
                <a:gd name="T28" fmla="*/ 188 w 37"/>
                <a:gd name="T29" fmla="*/ 103 h 67"/>
                <a:gd name="T30" fmla="*/ 80 w 37"/>
                <a:gd name="T31" fmla="*/ 118 h 6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7"/>
                <a:gd name="T49" fmla="*/ 0 h 67"/>
                <a:gd name="T50" fmla="*/ 37 w 37"/>
                <a:gd name="T51" fmla="*/ 67 h 6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7" h="67">
                  <a:moveTo>
                    <a:pt x="15" y="67"/>
                  </a:moveTo>
                  <a:lnTo>
                    <a:pt x="9" y="57"/>
                  </a:lnTo>
                  <a:lnTo>
                    <a:pt x="6" y="41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6" y="15"/>
                  </a:lnTo>
                  <a:lnTo>
                    <a:pt x="4" y="13"/>
                  </a:lnTo>
                  <a:lnTo>
                    <a:pt x="6" y="11"/>
                  </a:lnTo>
                  <a:lnTo>
                    <a:pt x="9" y="5"/>
                  </a:lnTo>
                  <a:lnTo>
                    <a:pt x="6" y="0"/>
                  </a:lnTo>
                  <a:lnTo>
                    <a:pt x="22" y="11"/>
                  </a:lnTo>
                  <a:lnTo>
                    <a:pt x="22" y="13"/>
                  </a:lnTo>
                  <a:lnTo>
                    <a:pt x="28" y="22"/>
                  </a:lnTo>
                  <a:lnTo>
                    <a:pt x="37" y="39"/>
                  </a:lnTo>
                  <a:lnTo>
                    <a:pt x="34" y="57"/>
                  </a:lnTo>
                  <a:lnTo>
                    <a:pt x="15" y="67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8" name="Freeform 141"/>
            <p:cNvSpPr>
              <a:spLocks noChangeAspect="1"/>
            </p:cNvSpPr>
            <p:nvPr/>
          </p:nvSpPr>
          <p:spPr bwMode="auto">
            <a:xfrm>
              <a:off x="3225" y="2030"/>
              <a:ext cx="114" cy="94"/>
            </a:xfrm>
            <a:custGeom>
              <a:avLst/>
              <a:gdLst>
                <a:gd name="T0" fmla="*/ 4 w 103"/>
                <a:gd name="T1" fmla="*/ 43 h 92"/>
                <a:gd name="T2" fmla="*/ 56 w 103"/>
                <a:gd name="T3" fmla="*/ 48 h 92"/>
                <a:gd name="T4" fmla="*/ 114 w 103"/>
                <a:gd name="T5" fmla="*/ 43 h 92"/>
                <a:gd name="T6" fmla="*/ 126 w 103"/>
                <a:gd name="T7" fmla="*/ 21 h 92"/>
                <a:gd name="T8" fmla="*/ 126 w 103"/>
                <a:gd name="T9" fmla="*/ 19 h 92"/>
                <a:gd name="T10" fmla="*/ 126 w 103"/>
                <a:gd name="T11" fmla="*/ 8 h 92"/>
                <a:gd name="T12" fmla="*/ 170 w 103"/>
                <a:gd name="T13" fmla="*/ 8 h 92"/>
                <a:gd name="T14" fmla="*/ 208 w 103"/>
                <a:gd name="T15" fmla="*/ 12 h 92"/>
                <a:gd name="T16" fmla="*/ 278 w 103"/>
                <a:gd name="T17" fmla="*/ 12 h 92"/>
                <a:gd name="T18" fmla="*/ 377 w 103"/>
                <a:gd name="T19" fmla="*/ 8 h 92"/>
                <a:gd name="T20" fmla="*/ 483 w 103"/>
                <a:gd name="T21" fmla="*/ 12 h 92"/>
                <a:gd name="T22" fmla="*/ 585 w 103"/>
                <a:gd name="T23" fmla="*/ 12 h 92"/>
                <a:gd name="T24" fmla="*/ 699 w 103"/>
                <a:gd name="T25" fmla="*/ 4 h 92"/>
                <a:gd name="T26" fmla="*/ 774 w 103"/>
                <a:gd name="T27" fmla="*/ 4 h 92"/>
                <a:gd name="T28" fmla="*/ 841 w 103"/>
                <a:gd name="T29" fmla="*/ 4 h 92"/>
                <a:gd name="T30" fmla="*/ 888 w 103"/>
                <a:gd name="T31" fmla="*/ 0 h 92"/>
                <a:gd name="T32" fmla="*/ 931 w 103"/>
                <a:gd name="T33" fmla="*/ 4 h 92"/>
                <a:gd name="T34" fmla="*/ 888 w 103"/>
                <a:gd name="T35" fmla="*/ 8 h 92"/>
                <a:gd name="T36" fmla="*/ 811 w 103"/>
                <a:gd name="T37" fmla="*/ 15 h 92"/>
                <a:gd name="T38" fmla="*/ 811 w 103"/>
                <a:gd name="T39" fmla="*/ 21 h 92"/>
                <a:gd name="T40" fmla="*/ 811 w 103"/>
                <a:gd name="T41" fmla="*/ 50 h 92"/>
                <a:gd name="T42" fmla="*/ 811 w 103"/>
                <a:gd name="T43" fmla="*/ 63 h 92"/>
                <a:gd name="T44" fmla="*/ 774 w 103"/>
                <a:gd name="T45" fmla="*/ 79 h 92"/>
                <a:gd name="T46" fmla="*/ 687 w 103"/>
                <a:gd name="T47" fmla="*/ 95 h 92"/>
                <a:gd name="T48" fmla="*/ 483 w 103"/>
                <a:gd name="T49" fmla="*/ 113 h 92"/>
                <a:gd name="T50" fmla="*/ 345 w 103"/>
                <a:gd name="T51" fmla="*/ 128 h 92"/>
                <a:gd name="T52" fmla="*/ 208 w 103"/>
                <a:gd name="T53" fmla="*/ 140 h 92"/>
                <a:gd name="T54" fmla="*/ 126 w 103"/>
                <a:gd name="T55" fmla="*/ 140 h 92"/>
                <a:gd name="T56" fmla="*/ 114 w 103"/>
                <a:gd name="T57" fmla="*/ 140 h 92"/>
                <a:gd name="T58" fmla="*/ 93 w 103"/>
                <a:gd name="T59" fmla="*/ 134 h 92"/>
                <a:gd name="T60" fmla="*/ 0 w 103"/>
                <a:gd name="T61" fmla="*/ 134 h 92"/>
                <a:gd name="T62" fmla="*/ 56 w 103"/>
                <a:gd name="T63" fmla="*/ 120 h 92"/>
                <a:gd name="T64" fmla="*/ 56 w 103"/>
                <a:gd name="T65" fmla="*/ 117 h 92"/>
                <a:gd name="T66" fmla="*/ 93 w 103"/>
                <a:gd name="T67" fmla="*/ 111 h 92"/>
                <a:gd name="T68" fmla="*/ 93 w 103"/>
                <a:gd name="T69" fmla="*/ 103 h 92"/>
                <a:gd name="T70" fmla="*/ 126 w 103"/>
                <a:gd name="T71" fmla="*/ 95 h 92"/>
                <a:gd name="T72" fmla="*/ 126 w 103"/>
                <a:gd name="T73" fmla="*/ 79 h 92"/>
                <a:gd name="T74" fmla="*/ 126 w 103"/>
                <a:gd name="T75" fmla="*/ 69 h 92"/>
                <a:gd name="T76" fmla="*/ 4 w 103"/>
                <a:gd name="T77" fmla="*/ 79 h 92"/>
                <a:gd name="T78" fmla="*/ 4 w 103"/>
                <a:gd name="T79" fmla="*/ 65 h 92"/>
                <a:gd name="T80" fmla="*/ 4 w 103"/>
                <a:gd name="T81" fmla="*/ 58 h 92"/>
                <a:gd name="T82" fmla="*/ 0 w 103"/>
                <a:gd name="T83" fmla="*/ 54 h 92"/>
                <a:gd name="T84" fmla="*/ 4 w 103"/>
                <a:gd name="T85" fmla="*/ 43 h 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3"/>
                <a:gd name="T130" fmla="*/ 0 h 92"/>
                <a:gd name="T131" fmla="*/ 103 w 103"/>
                <a:gd name="T132" fmla="*/ 92 h 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3" h="92">
                  <a:moveTo>
                    <a:pt x="4" y="23"/>
                  </a:moveTo>
                  <a:lnTo>
                    <a:pt x="6" y="28"/>
                  </a:lnTo>
                  <a:lnTo>
                    <a:pt x="13" y="23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24" y="12"/>
                  </a:lnTo>
                  <a:lnTo>
                    <a:pt x="30" y="12"/>
                  </a:lnTo>
                  <a:lnTo>
                    <a:pt x="41" y="8"/>
                  </a:lnTo>
                  <a:lnTo>
                    <a:pt x="54" y="12"/>
                  </a:lnTo>
                  <a:lnTo>
                    <a:pt x="65" y="12"/>
                  </a:lnTo>
                  <a:lnTo>
                    <a:pt x="78" y="4"/>
                  </a:lnTo>
                  <a:lnTo>
                    <a:pt x="86" y="4"/>
                  </a:lnTo>
                  <a:lnTo>
                    <a:pt x="93" y="4"/>
                  </a:lnTo>
                  <a:lnTo>
                    <a:pt x="99" y="0"/>
                  </a:lnTo>
                  <a:lnTo>
                    <a:pt x="103" y="4"/>
                  </a:lnTo>
                  <a:lnTo>
                    <a:pt x="99" y="8"/>
                  </a:lnTo>
                  <a:lnTo>
                    <a:pt x="90" y="15"/>
                  </a:lnTo>
                  <a:lnTo>
                    <a:pt x="90" y="21"/>
                  </a:lnTo>
                  <a:lnTo>
                    <a:pt x="90" y="30"/>
                  </a:lnTo>
                  <a:lnTo>
                    <a:pt x="90" y="43"/>
                  </a:lnTo>
                  <a:lnTo>
                    <a:pt x="86" y="54"/>
                  </a:lnTo>
                  <a:lnTo>
                    <a:pt x="75" y="62"/>
                  </a:lnTo>
                  <a:lnTo>
                    <a:pt x="54" y="73"/>
                  </a:lnTo>
                  <a:lnTo>
                    <a:pt x="39" y="84"/>
                  </a:lnTo>
                  <a:lnTo>
                    <a:pt x="24" y="92"/>
                  </a:lnTo>
                  <a:lnTo>
                    <a:pt x="15" y="92"/>
                  </a:lnTo>
                  <a:lnTo>
                    <a:pt x="13" y="92"/>
                  </a:lnTo>
                  <a:lnTo>
                    <a:pt x="11" y="88"/>
                  </a:lnTo>
                  <a:lnTo>
                    <a:pt x="0" y="88"/>
                  </a:lnTo>
                  <a:lnTo>
                    <a:pt x="6" y="79"/>
                  </a:lnTo>
                  <a:lnTo>
                    <a:pt x="6" y="77"/>
                  </a:lnTo>
                  <a:lnTo>
                    <a:pt x="11" y="71"/>
                  </a:lnTo>
                  <a:lnTo>
                    <a:pt x="11" y="66"/>
                  </a:lnTo>
                  <a:lnTo>
                    <a:pt x="15" y="62"/>
                  </a:lnTo>
                  <a:lnTo>
                    <a:pt x="15" y="54"/>
                  </a:lnTo>
                  <a:lnTo>
                    <a:pt x="15" y="49"/>
                  </a:lnTo>
                  <a:lnTo>
                    <a:pt x="4" y="54"/>
                  </a:lnTo>
                  <a:lnTo>
                    <a:pt x="4" y="45"/>
                  </a:lnTo>
                  <a:lnTo>
                    <a:pt x="4" y="38"/>
                  </a:lnTo>
                  <a:lnTo>
                    <a:pt x="0" y="34"/>
                  </a:lnTo>
                  <a:lnTo>
                    <a:pt x="4" y="23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49" name="Freeform 142"/>
            <p:cNvSpPr>
              <a:spLocks noChangeAspect="1"/>
            </p:cNvSpPr>
            <p:nvPr/>
          </p:nvSpPr>
          <p:spPr bwMode="auto">
            <a:xfrm>
              <a:off x="4350" y="2332"/>
              <a:ext cx="150" cy="264"/>
            </a:xfrm>
            <a:custGeom>
              <a:avLst/>
              <a:gdLst>
                <a:gd name="T0" fmla="*/ 347 w 136"/>
                <a:gd name="T1" fmla="*/ 7 h 259"/>
                <a:gd name="T2" fmla="*/ 417 w 136"/>
                <a:gd name="T3" fmla="*/ 9 h 259"/>
                <a:gd name="T4" fmla="*/ 417 w 136"/>
                <a:gd name="T5" fmla="*/ 20 h 259"/>
                <a:gd name="T6" fmla="*/ 465 w 136"/>
                <a:gd name="T7" fmla="*/ 22 h 259"/>
                <a:gd name="T8" fmla="*/ 465 w 136"/>
                <a:gd name="T9" fmla="*/ 57 h 259"/>
                <a:gd name="T10" fmla="*/ 507 w 136"/>
                <a:gd name="T11" fmla="*/ 72 h 259"/>
                <a:gd name="T12" fmla="*/ 601 w 136"/>
                <a:gd name="T13" fmla="*/ 66 h 259"/>
                <a:gd name="T14" fmla="*/ 687 w 136"/>
                <a:gd name="T15" fmla="*/ 66 h 259"/>
                <a:gd name="T16" fmla="*/ 771 w 136"/>
                <a:gd name="T17" fmla="*/ 64 h 259"/>
                <a:gd name="T18" fmla="*/ 882 w 136"/>
                <a:gd name="T19" fmla="*/ 59 h 259"/>
                <a:gd name="T20" fmla="*/ 1018 w 136"/>
                <a:gd name="T21" fmla="*/ 80 h 259"/>
                <a:gd name="T22" fmla="*/ 1033 w 136"/>
                <a:gd name="T23" fmla="*/ 100 h 259"/>
                <a:gd name="T24" fmla="*/ 1111 w 136"/>
                <a:gd name="T25" fmla="*/ 120 h 259"/>
                <a:gd name="T26" fmla="*/ 1139 w 136"/>
                <a:gd name="T27" fmla="*/ 127 h 259"/>
                <a:gd name="T28" fmla="*/ 1139 w 136"/>
                <a:gd name="T29" fmla="*/ 151 h 259"/>
                <a:gd name="T30" fmla="*/ 1080 w 136"/>
                <a:gd name="T31" fmla="*/ 161 h 259"/>
                <a:gd name="T32" fmla="*/ 1018 w 136"/>
                <a:gd name="T33" fmla="*/ 161 h 259"/>
                <a:gd name="T34" fmla="*/ 800 w 136"/>
                <a:gd name="T35" fmla="*/ 161 h 259"/>
                <a:gd name="T36" fmla="*/ 725 w 136"/>
                <a:gd name="T37" fmla="*/ 192 h 259"/>
                <a:gd name="T38" fmla="*/ 807 w 136"/>
                <a:gd name="T39" fmla="*/ 227 h 259"/>
                <a:gd name="T40" fmla="*/ 624 w 136"/>
                <a:gd name="T41" fmla="*/ 207 h 259"/>
                <a:gd name="T42" fmla="*/ 545 w 136"/>
                <a:gd name="T43" fmla="*/ 184 h 259"/>
                <a:gd name="T44" fmla="*/ 417 w 136"/>
                <a:gd name="T45" fmla="*/ 207 h 259"/>
                <a:gd name="T46" fmla="*/ 347 w 136"/>
                <a:gd name="T47" fmla="*/ 239 h 259"/>
                <a:gd name="T48" fmla="*/ 297 w 136"/>
                <a:gd name="T49" fmla="*/ 271 h 259"/>
                <a:gd name="T50" fmla="*/ 417 w 136"/>
                <a:gd name="T51" fmla="*/ 291 h 259"/>
                <a:gd name="T52" fmla="*/ 465 w 136"/>
                <a:gd name="T53" fmla="*/ 310 h 259"/>
                <a:gd name="T54" fmla="*/ 601 w 136"/>
                <a:gd name="T55" fmla="*/ 353 h 259"/>
                <a:gd name="T56" fmla="*/ 725 w 136"/>
                <a:gd name="T57" fmla="*/ 368 h 259"/>
                <a:gd name="T58" fmla="*/ 681 w 136"/>
                <a:gd name="T59" fmla="*/ 374 h 259"/>
                <a:gd name="T60" fmla="*/ 617 w 136"/>
                <a:gd name="T61" fmla="*/ 379 h 259"/>
                <a:gd name="T62" fmla="*/ 601 w 136"/>
                <a:gd name="T63" fmla="*/ 368 h 259"/>
                <a:gd name="T64" fmla="*/ 465 w 136"/>
                <a:gd name="T65" fmla="*/ 362 h 259"/>
                <a:gd name="T66" fmla="*/ 347 w 136"/>
                <a:gd name="T67" fmla="*/ 339 h 259"/>
                <a:gd name="T68" fmla="*/ 259 w 136"/>
                <a:gd name="T69" fmla="*/ 310 h 259"/>
                <a:gd name="T70" fmla="*/ 213 w 136"/>
                <a:gd name="T71" fmla="*/ 323 h 259"/>
                <a:gd name="T72" fmla="*/ 181 w 136"/>
                <a:gd name="T73" fmla="*/ 299 h 259"/>
                <a:gd name="T74" fmla="*/ 213 w 136"/>
                <a:gd name="T75" fmla="*/ 276 h 259"/>
                <a:gd name="T76" fmla="*/ 259 w 136"/>
                <a:gd name="T77" fmla="*/ 269 h 259"/>
                <a:gd name="T78" fmla="*/ 297 w 136"/>
                <a:gd name="T79" fmla="*/ 232 h 259"/>
                <a:gd name="T80" fmla="*/ 286 w 136"/>
                <a:gd name="T81" fmla="*/ 195 h 259"/>
                <a:gd name="T82" fmla="*/ 149 w 136"/>
                <a:gd name="T83" fmla="*/ 151 h 259"/>
                <a:gd name="T84" fmla="*/ 181 w 136"/>
                <a:gd name="T85" fmla="*/ 131 h 259"/>
                <a:gd name="T86" fmla="*/ 193 w 136"/>
                <a:gd name="T87" fmla="*/ 120 h 259"/>
                <a:gd name="T88" fmla="*/ 149 w 136"/>
                <a:gd name="T89" fmla="*/ 92 h 259"/>
                <a:gd name="T90" fmla="*/ 2 w 136"/>
                <a:gd name="T91" fmla="*/ 59 h 259"/>
                <a:gd name="T92" fmla="*/ 0 w 136"/>
                <a:gd name="T93" fmla="*/ 57 h 259"/>
                <a:gd name="T94" fmla="*/ 2 w 136"/>
                <a:gd name="T95" fmla="*/ 24 h 259"/>
                <a:gd name="T96" fmla="*/ 68 w 136"/>
                <a:gd name="T97" fmla="*/ 16 h 259"/>
                <a:gd name="T98" fmla="*/ 181 w 136"/>
                <a:gd name="T99" fmla="*/ 7 h 259"/>
                <a:gd name="T100" fmla="*/ 259 w 136"/>
                <a:gd name="T101" fmla="*/ 5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36"/>
                <a:gd name="T154" fmla="*/ 0 h 259"/>
                <a:gd name="T155" fmla="*/ 136 w 136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36" h="259">
                  <a:moveTo>
                    <a:pt x="41" y="0"/>
                  </a:moveTo>
                  <a:lnTo>
                    <a:pt x="41" y="7"/>
                  </a:lnTo>
                  <a:lnTo>
                    <a:pt x="41" y="5"/>
                  </a:lnTo>
                  <a:lnTo>
                    <a:pt x="49" y="9"/>
                  </a:lnTo>
                  <a:lnTo>
                    <a:pt x="45" y="16"/>
                  </a:lnTo>
                  <a:lnTo>
                    <a:pt x="49" y="20"/>
                  </a:lnTo>
                  <a:lnTo>
                    <a:pt x="56" y="16"/>
                  </a:lnTo>
                  <a:lnTo>
                    <a:pt x="56" y="22"/>
                  </a:lnTo>
                  <a:lnTo>
                    <a:pt x="60" y="24"/>
                  </a:lnTo>
                  <a:lnTo>
                    <a:pt x="56" y="37"/>
                  </a:lnTo>
                  <a:lnTo>
                    <a:pt x="56" y="50"/>
                  </a:lnTo>
                  <a:lnTo>
                    <a:pt x="60" y="52"/>
                  </a:lnTo>
                  <a:lnTo>
                    <a:pt x="67" y="46"/>
                  </a:lnTo>
                  <a:lnTo>
                    <a:pt x="71" y="46"/>
                  </a:lnTo>
                  <a:lnTo>
                    <a:pt x="75" y="39"/>
                  </a:lnTo>
                  <a:lnTo>
                    <a:pt x="82" y="46"/>
                  </a:lnTo>
                  <a:lnTo>
                    <a:pt x="86" y="44"/>
                  </a:lnTo>
                  <a:lnTo>
                    <a:pt x="92" y="44"/>
                  </a:lnTo>
                  <a:lnTo>
                    <a:pt x="95" y="37"/>
                  </a:lnTo>
                  <a:lnTo>
                    <a:pt x="105" y="39"/>
                  </a:lnTo>
                  <a:lnTo>
                    <a:pt x="110" y="46"/>
                  </a:lnTo>
                  <a:lnTo>
                    <a:pt x="121" y="59"/>
                  </a:lnTo>
                  <a:lnTo>
                    <a:pt x="121" y="61"/>
                  </a:lnTo>
                  <a:lnTo>
                    <a:pt x="123" y="69"/>
                  </a:lnTo>
                  <a:lnTo>
                    <a:pt x="125" y="76"/>
                  </a:lnTo>
                  <a:lnTo>
                    <a:pt x="131" y="80"/>
                  </a:lnTo>
                  <a:lnTo>
                    <a:pt x="131" y="85"/>
                  </a:lnTo>
                  <a:lnTo>
                    <a:pt x="136" y="87"/>
                  </a:lnTo>
                  <a:lnTo>
                    <a:pt x="136" y="91"/>
                  </a:lnTo>
                  <a:lnTo>
                    <a:pt x="136" y="104"/>
                  </a:lnTo>
                  <a:lnTo>
                    <a:pt x="131" y="111"/>
                  </a:lnTo>
                  <a:lnTo>
                    <a:pt x="129" y="111"/>
                  </a:lnTo>
                  <a:lnTo>
                    <a:pt x="123" y="108"/>
                  </a:lnTo>
                  <a:lnTo>
                    <a:pt x="121" y="111"/>
                  </a:lnTo>
                  <a:lnTo>
                    <a:pt x="108" y="108"/>
                  </a:lnTo>
                  <a:lnTo>
                    <a:pt x="95" y="111"/>
                  </a:lnTo>
                  <a:lnTo>
                    <a:pt x="95" y="123"/>
                  </a:lnTo>
                  <a:lnTo>
                    <a:pt x="86" y="130"/>
                  </a:lnTo>
                  <a:lnTo>
                    <a:pt x="88" y="139"/>
                  </a:lnTo>
                  <a:lnTo>
                    <a:pt x="97" y="156"/>
                  </a:lnTo>
                  <a:lnTo>
                    <a:pt x="92" y="152"/>
                  </a:lnTo>
                  <a:lnTo>
                    <a:pt x="75" y="141"/>
                  </a:lnTo>
                  <a:lnTo>
                    <a:pt x="60" y="139"/>
                  </a:lnTo>
                  <a:lnTo>
                    <a:pt x="64" y="126"/>
                  </a:lnTo>
                  <a:lnTo>
                    <a:pt x="49" y="130"/>
                  </a:lnTo>
                  <a:lnTo>
                    <a:pt x="49" y="141"/>
                  </a:lnTo>
                  <a:lnTo>
                    <a:pt x="49" y="152"/>
                  </a:lnTo>
                  <a:lnTo>
                    <a:pt x="41" y="164"/>
                  </a:lnTo>
                  <a:lnTo>
                    <a:pt x="41" y="180"/>
                  </a:lnTo>
                  <a:lnTo>
                    <a:pt x="36" y="184"/>
                  </a:lnTo>
                  <a:lnTo>
                    <a:pt x="41" y="203"/>
                  </a:lnTo>
                  <a:lnTo>
                    <a:pt x="49" y="199"/>
                  </a:lnTo>
                  <a:lnTo>
                    <a:pt x="51" y="212"/>
                  </a:lnTo>
                  <a:lnTo>
                    <a:pt x="56" y="212"/>
                  </a:lnTo>
                  <a:lnTo>
                    <a:pt x="60" y="236"/>
                  </a:lnTo>
                  <a:lnTo>
                    <a:pt x="71" y="240"/>
                  </a:lnTo>
                  <a:lnTo>
                    <a:pt x="80" y="240"/>
                  </a:lnTo>
                  <a:lnTo>
                    <a:pt x="86" y="251"/>
                  </a:lnTo>
                  <a:lnTo>
                    <a:pt x="82" y="251"/>
                  </a:lnTo>
                  <a:lnTo>
                    <a:pt x="80" y="255"/>
                  </a:lnTo>
                  <a:lnTo>
                    <a:pt x="75" y="251"/>
                  </a:lnTo>
                  <a:lnTo>
                    <a:pt x="73" y="259"/>
                  </a:lnTo>
                  <a:lnTo>
                    <a:pt x="67" y="259"/>
                  </a:lnTo>
                  <a:lnTo>
                    <a:pt x="71" y="251"/>
                  </a:lnTo>
                  <a:lnTo>
                    <a:pt x="56" y="244"/>
                  </a:lnTo>
                  <a:lnTo>
                    <a:pt x="56" y="247"/>
                  </a:lnTo>
                  <a:lnTo>
                    <a:pt x="49" y="236"/>
                  </a:lnTo>
                  <a:lnTo>
                    <a:pt x="41" y="231"/>
                  </a:lnTo>
                  <a:lnTo>
                    <a:pt x="34" y="218"/>
                  </a:lnTo>
                  <a:lnTo>
                    <a:pt x="30" y="212"/>
                  </a:lnTo>
                  <a:lnTo>
                    <a:pt x="26" y="216"/>
                  </a:lnTo>
                  <a:lnTo>
                    <a:pt x="26" y="221"/>
                  </a:lnTo>
                  <a:lnTo>
                    <a:pt x="23" y="218"/>
                  </a:lnTo>
                  <a:lnTo>
                    <a:pt x="21" y="205"/>
                  </a:lnTo>
                  <a:lnTo>
                    <a:pt x="23" y="195"/>
                  </a:lnTo>
                  <a:lnTo>
                    <a:pt x="26" y="188"/>
                  </a:lnTo>
                  <a:lnTo>
                    <a:pt x="26" y="184"/>
                  </a:lnTo>
                  <a:lnTo>
                    <a:pt x="30" y="182"/>
                  </a:lnTo>
                  <a:lnTo>
                    <a:pt x="30" y="175"/>
                  </a:lnTo>
                  <a:lnTo>
                    <a:pt x="36" y="160"/>
                  </a:lnTo>
                  <a:lnTo>
                    <a:pt x="41" y="152"/>
                  </a:lnTo>
                  <a:lnTo>
                    <a:pt x="34" y="132"/>
                  </a:lnTo>
                  <a:lnTo>
                    <a:pt x="34" y="123"/>
                  </a:lnTo>
                  <a:lnTo>
                    <a:pt x="17" y="104"/>
                  </a:lnTo>
                  <a:lnTo>
                    <a:pt x="17" y="100"/>
                  </a:lnTo>
                  <a:lnTo>
                    <a:pt x="21" y="91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21" y="69"/>
                  </a:lnTo>
                  <a:lnTo>
                    <a:pt x="17" y="65"/>
                  </a:lnTo>
                  <a:lnTo>
                    <a:pt x="6" y="46"/>
                  </a:lnTo>
                  <a:lnTo>
                    <a:pt x="2" y="39"/>
                  </a:lnTo>
                  <a:lnTo>
                    <a:pt x="0" y="39"/>
                  </a:lnTo>
                  <a:lnTo>
                    <a:pt x="0" y="37"/>
                  </a:lnTo>
                  <a:lnTo>
                    <a:pt x="2" y="35"/>
                  </a:lnTo>
                  <a:lnTo>
                    <a:pt x="2" y="24"/>
                  </a:lnTo>
                  <a:lnTo>
                    <a:pt x="6" y="20"/>
                  </a:lnTo>
                  <a:lnTo>
                    <a:pt x="8" y="16"/>
                  </a:lnTo>
                  <a:lnTo>
                    <a:pt x="23" y="11"/>
                  </a:lnTo>
                  <a:lnTo>
                    <a:pt x="21" y="7"/>
                  </a:lnTo>
                  <a:lnTo>
                    <a:pt x="26" y="9"/>
                  </a:lnTo>
                  <a:lnTo>
                    <a:pt x="30" y="5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0" name="Freeform 143"/>
            <p:cNvSpPr>
              <a:spLocks noChangeAspect="1"/>
            </p:cNvSpPr>
            <p:nvPr/>
          </p:nvSpPr>
          <p:spPr bwMode="auto">
            <a:xfrm>
              <a:off x="3515" y="2236"/>
              <a:ext cx="90" cy="68"/>
            </a:xfrm>
            <a:custGeom>
              <a:avLst/>
              <a:gdLst>
                <a:gd name="T0" fmla="*/ 0 w 82"/>
                <a:gd name="T1" fmla="*/ 31 h 67"/>
                <a:gd name="T2" fmla="*/ 2 w 82"/>
                <a:gd name="T3" fmla="*/ 26 h 67"/>
                <a:gd name="T4" fmla="*/ 2 w 82"/>
                <a:gd name="T5" fmla="*/ 55 h 67"/>
                <a:gd name="T6" fmla="*/ 55 w 82"/>
                <a:gd name="T7" fmla="*/ 57 h 67"/>
                <a:gd name="T8" fmla="*/ 66 w 82"/>
                <a:gd name="T9" fmla="*/ 59 h 67"/>
                <a:gd name="T10" fmla="*/ 125 w 82"/>
                <a:gd name="T11" fmla="*/ 59 h 67"/>
                <a:gd name="T12" fmla="*/ 165 w 82"/>
                <a:gd name="T13" fmla="*/ 57 h 67"/>
                <a:gd name="T14" fmla="*/ 288 w 82"/>
                <a:gd name="T15" fmla="*/ 57 h 67"/>
                <a:gd name="T16" fmla="*/ 363 w 82"/>
                <a:gd name="T17" fmla="*/ 55 h 67"/>
                <a:gd name="T18" fmla="*/ 410 w 82"/>
                <a:gd name="T19" fmla="*/ 26 h 67"/>
                <a:gd name="T20" fmla="*/ 494 w 82"/>
                <a:gd name="T21" fmla="*/ 16 h 67"/>
                <a:gd name="T22" fmla="*/ 541 w 82"/>
                <a:gd name="T23" fmla="*/ 7 h 67"/>
                <a:gd name="T24" fmla="*/ 578 w 82"/>
                <a:gd name="T25" fmla="*/ 0 h 67"/>
                <a:gd name="T26" fmla="*/ 605 w 82"/>
                <a:gd name="T27" fmla="*/ 5 h 67"/>
                <a:gd name="T28" fmla="*/ 605 w 82"/>
                <a:gd name="T29" fmla="*/ 9 h 67"/>
                <a:gd name="T30" fmla="*/ 605 w 82"/>
                <a:gd name="T31" fmla="*/ 20 h 67"/>
                <a:gd name="T32" fmla="*/ 578 w 82"/>
                <a:gd name="T33" fmla="*/ 20 h 67"/>
                <a:gd name="T34" fmla="*/ 541 w 82"/>
                <a:gd name="T35" fmla="*/ 22 h 67"/>
                <a:gd name="T36" fmla="*/ 578 w 82"/>
                <a:gd name="T37" fmla="*/ 55 h 67"/>
                <a:gd name="T38" fmla="*/ 605 w 82"/>
                <a:gd name="T39" fmla="*/ 55 h 67"/>
                <a:gd name="T40" fmla="*/ 621 w 82"/>
                <a:gd name="T41" fmla="*/ 59 h 67"/>
                <a:gd name="T42" fmla="*/ 605 w 82"/>
                <a:gd name="T43" fmla="*/ 59 h 67"/>
                <a:gd name="T44" fmla="*/ 541 w 82"/>
                <a:gd name="T45" fmla="*/ 59 h 67"/>
                <a:gd name="T46" fmla="*/ 541 w 82"/>
                <a:gd name="T47" fmla="*/ 66 h 67"/>
                <a:gd name="T48" fmla="*/ 541 w 82"/>
                <a:gd name="T49" fmla="*/ 72 h 67"/>
                <a:gd name="T50" fmla="*/ 541 w 82"/>
                <a:gd name="T51" fmla="*/ 85 h 67"/>
                <a:gd name="T52" fmla="*/ 504 w 82"/>
                <a:gd name="T53" fmla="*/ 87 h 67"/>
                <a:gd name="T54" fmla="*/ 125 w 82"/>
                <a:gd name="T55" fmla="*/ 79 h 67"/>
                <a:gd name="T56" fmla="*/ 112 w 82"/>
                <a:gd name="T57" fmla="*/ 72 h 67"/>
                <a:gd name="T58" fmla="*/ 66 w 82"/>
                <a:gd name="T59" fmla="*/ 64 h 67"/>
                <a:gd name="T60" fmla="*/ 2 w 82"/>
                <a:gd name="T61" fmla="*/ 57 h 67"/>
                <a:gd name="T62" fmla="*/ 0 w 82"/>
                <a:gd name="T63" fmla="*/ 31 h 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2"/>
                <a:gd name="T97" fmla="*/ 0 h 67"/>
                <a:gd name="T98" fmla="*/ 82 w 82"/>
                <a:gd name="T99" fmla="*/ 67 h 6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2" h="67">
                  <a:moveTo>
                    <a:pt x="0" y="31"/>
                  </a:moveTo>
                  <a:lnTo>
                    <a:pt x="2" y="26"/>
                  </a:lnTo>
                  <a:lnTo>
                    <a:pt x="2" y="35"/>
                  </a:lnTo>
                  <a:lnTo>
                    <a:pt x="7" y="37"/>
                  </a:lnTo>
                  <a:lnTo>
                    <a:pt x="9" y="39"/>
                  </a:lnTo>
                  <a:lnTo>
                    <a:pt x="17" y="39"/>
                  </a:lnTo>
                  <a:lnTo>
                    <a:pt x="22" y="37"/>
                  </a:lnTo>
                  <a:lnTo>
                    <a:pt x="39" y="37"/>
                  </a:lnTo>
                  <a:lnTo>
                    <a:pt x="48" y="35"/>
                  </a:lnTo>
                  <a:lnTo>
                    <a:pt x="54" y="26"/>
                  </a:lnTo>
                  <a:lnTo>
                    <a:pt x="65" y="16"/>
                  </a:lnTo>
                  <a:lnTo>
                    <a:pt x="71" y="7"/>
                  </a:lnTo>
                  <a:lnTo>
                    <a:pt x="76" y="0"/>
                  </a:lnTo>
                  <a:lnTo>
                    <a:pt x="80" y="5"/>
                  </a:lnTo>
                  <a:lnTo>
                    <a:pt x="80" y="9"/>
                  </a:lnTo>
                  <a:lnTo>
                    <a:pt x="80" y="20"/>
                  </a:lnTo>
                  <a:lnTo>
                    <a:pt x="76" y="20"/>
                  </a:lnTo>
                  <a:lnTo>
                    <a:pt x="71" y="22"/>
                  </a:lnTo>
                  <a:lnTo>
                    <a:pt x="76" y="35"/>
                  </a:lnTo>
                  <a:lnTo>
                    <a:pt x="80" y="35"/>
                  </a:lnTo>
                  <a:lnTo>
                    <a:pt x="82" y="39"/>
                  </a:lnTo>
                  <a:lnTo>
                    <a:pt x="80" y="39"/>
                  </a:lnTo>
                  <a:lnTo>
                    <a:pt x="71" y="39"/>
                  </a:lnTo>
                  <a:lnTo>
                    <a:pt x="71" y="46"/>
                  </a:lnTo>
                  <a:lnTo>
                    <a:pt x="71" y="52"/>
                  </a:lnTo>
                  <a:lnTo>
                    <a:pt x="71" y="65"/>
                  </a:lnTo>
                  <a:lnTo>
                    <a:pt x="67" y="67"/>
                  </a:lnTo>
                  <a:lnTo>
                    <a:pt x="17" y="59"/>
                  </a:lnTo>
                  <a:lnTo>
                    <a:pt x="15" y="52"/>
                  </a:lnTo>
                  <a:lnTo>
                    <a:pt x="9" y="44"/>
                  </a:lnTo>
                  <a:lnTo>
                    <a:pt x="2" y="37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1" name="Freeform 144"/>
            <p:cNvSpPr>
              <a:spLocks noChangeAspect="1"/>
            </p:cNvSpPr>
            <p:nvPr/>
          </p:nvSpPr>
          <p:spPr bwMode="auto">
            <a:xfrm>
              <a:off x="4428" y="2280"/>
              <a:ext cx="145" cy="266"/>
            </a:xfrm>
            <a:custGeom>
              <a:avLst/>
              <a:gdLst>
                <a:gd name="T0" fmla="*/ 4 w 132"/>
                <a:gd name="T1" fmla="*/ 15 h 261"/>
                <a:gd name="T2" fmla="*/ 82 w 132"/>
                <a:gd name="T3" fmla="*/ 15 h 261"/>
                <a:gd name="T4" fmla="*/ 163 w 132"/>
                <a:gd name="T5" fmla="*/ 10 h 261"/>
                <a:gd name="T6" fmla="*/ 232 w 132"/>
                <a:gd name="T7" fmla="*/ 10 h 261"/>
                <a:gd name="T8" fmla="*/ 314 w 132"/>
                <a:gd name="T9" fmla="*/ 2 h 261"/>
                <a:gd name="T10" fmla="*/ 440 w 132"/>
                <a:gd name="T11" fmla="*/ 6 h 261"/>
                <a:gd name="T12" fmla="*/ 553 w 132"/>
                <a:gd name="T13" fmla="*/ 8 h 261"/>
                <a:gd name="T14" fmla="*/ 651 w 132"/>
                <a:gd name="T15" fmla="*/ 52 h 261"/>
                <a:gd name="T16" fmla="*/ 730 w 132"/>
                <a:gd name="T17" fmla="*/ 52 h 261"/>
                <a:gd name="T18" fmla="*/ 660 w 132"/>
                <a:gd name="T19" fmla="*/ 56 h 261"/>
                <a:gd name="T20" fmla="*/ 607 w 132"/>
                <a:gd name="T21" fmla="*/ 61 h 261"/>
                <a:gd name="T22" fmla="*/ 553 w 132"/>
                <a:gd name="T23" fmla="*/ 78 h 261"/>
                <a:gd name="T24" fmla="*/ 493 w 132"/>
                <a:gd name="T25" fmla="*/ 85 h 261"/>
                <a:gd name="T26" fmla="*/ 553 w 132"/>
                <a:gd name="T27" fmla="*/ 137 h 261"/>
                <a:gd name="T28" fmla="*/ 730 w 132"/>
                <a:gd name="T29" fmla="*/ 174 h 261"/>
                <a:gd name="T30" fmla="*/ 789 w 132"/>
                <a:gd name="T31" fmla="*/ 185 h 261"/>
                <a:gd name="T32" fmla="*/ 884 w 132"/>
                <a:gd name="T33" fmla="*/ 208 h 261"/>
                <a:gd name="T34" fmla="*/ 929 w 132"/>
                <a:gd name="T35" fmla="*/ 223 h 261"/>
                <a:gd name="T36" fmla="*/ 994 w 132"/>
                <a:gd name="T37" fmla="*/ 270 h 261"/>
                <a:gd name="T38" fmla="*/ 994 w 132"/>
                <a:gd name="T39" fmla="*/ 278 h 261"/>
                <a:gd name="T40" fmla="*/ 1010 w 132"/>
                <a:gd name="T41" fmla="*/ 286 h 261"/>
                <a:gd name="T42" fmla="*/ 1010 w 132"/>
                <a:gd name="T43" fmla="*/ 298 h 261"/>
                <a:gd name="T44" fmla="*/ 884 w 132"/>
                <a:gd name="T45" fmla="*/ 321 h 261"/>
                <a:gd name="T46" fmla="*/ 822 w 132"/>
                <a:gd name="T47" fmla="*/ 330 h 261"/>
                <a:gd name="T48" fmla="*/ 667 w 132"/>
                <a:gd name="T49" fmla="*/ 344 h 261"/>
                <a:gd name="T50" fmla="*/ 607 w 132"/>
                <a:gd name="T51" fmla="*/ 350 h 261"/>
                <a:gd name="T52" fmla="*/ 542 w 132"/>
                <a:gd name="T53" fmla="*/ 365 h 261"/>
                <a:gd name="T54" fmla="*/ 448 w 132"/>
                <a:gd name="T55" fmla="*/ 352 h 261"/>
                <a:gd name="T56" fmla="*/ 448 w 132"/>
                <a:gd name="T57" fmla="*/ 340 h 261"/>
                <a:gd name="T58" fmla="*/ 405 w 132"/>
                <a:gd name="T59" fmla="*/ 338 h 261"/>
                <a:gd name="T60" fmla="*/ 583 w 132"/>
                <a:gd name="T61" fmla="*/ 321 h 261"/>
                <a:gd name="T62" fmla="*/ 553 w 132"/>
                <a:gd name="T63" fmla="*/ 302 h 261"/>
                <a:gd name="T64" fmla="*/ 667 w 132"/>
                <a:gd name="T65" fmla="*/ 291 h 261"/>
                <a:gd name="T66" fmla="*/ 772 w 132"/>
                <a:gd name="T67" fmla="*/ 286 h 261"/>
                <a:gd name="T68" fmla="*/ 759 w 132"/>
                <a:gd name="T69" fmla="*/ 245 h 261"/>
                <a:gd name="T70" fmla="*/ 759 w 132"/>
                <a:gd name="T71" fmla="*/ 225 h 261"/>
                <a:gd name="T72" fmla="*/ 759 w 132"/>
                <a:gd name="T73" fmla="*/ 208 h 261"/>
                <a:gd name="T74" fmla="*/ 730 w 132"/>
                <a:gd name="T75" fmla="*/ 193 h 261"/>
                <a:gd name="T76" fmla="*/ 583 w 132"/>
                <a:gd name="T77" fmla="*/ 162 h 261"/>
                <a:gd name="T78" fmla="*/ 457 w 132"/>
                <a:gd name="T79" fmla="*/ 137 h 261"/>
                <a:gd name="T80" fmla="*/ 405 w 132"/>
                <a:gd name="T81" fmla="*/ 126 h 261"/>
                <a:gd name="T82" fmla="*/ 260 w 132"/>
                <a:gd name="T83" fmla="*/ 95 h 261"/>
                <a:gd name="T84" fmla="*/ 345 w 132"/>
                <a:gd name="T85" fmla="*/ 95 h 261"/>
                <a:gd name="T86" fmla="*/ 338 w 132"/>
                <a:gd name="T87" fmla="*/ 71 h 261"/>
                <a:gd name="T88" fmla="*/ 281 w 132"/>
                <a:gd name="T89" fmla="*/ 65 h 261"/>
                <a:gd name="T90" fmla="*/ 82 w 132"/>
                <a:gd name="T91" fmla="*/ 61 h 261"/>
                <a:gd name="T92" fmla="*/ 82 w 132"/>
                <a:gd name="T93" fmla="*/ 26 h 261"/>
                <a:gd name="T94" fmla="*/ 0 w 132"/>
                <a:gd name="T95" fmla="*/ 17 h 26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2"/>
                <a:gd name="T145" fmla="*/ 0 h 261"/>
                <a:gd name="T146" fmla="*/ 132 w 132"/>
                <a:gd name="T147" fmla="*/ 261 h 26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2" h="261">
                  <a:moveTo>
                    <a:pt x="0" y="17"/>
                  </a:moveTo>
                  <a:lnTo>
                    <a:pt x="4" y="15"/>
                  </a:lnTo>
                  <a:lnTo>
                    <a:pt x="6" y="15"/>
                  </a:lnTo>
                  <a:lnTo>
                    <a:pt x="11" y="15"/>
                  </a:lnTo>
                  <a:lnTo>
                    <a:pt x="15" y="10"/>
                  </a:lnTo>
                  <a:lnTo>
                    <a:pt x="21" y="10"/>
                  </a:lnTo>
                  <a:lnTo>
                    <a:pt x="26" y="17"/>
                  </a:lnTo>
                  <a:lnTo>
                    <a:pt x="30" y="10"/>
                  </a:lnTo>
                  <a:lnTo>
                    <a:pt x="41" y="8"/>
                  </a:lnTo>
                  <a:lnTo>
                    <a:pt x="41" y="2"/>
                  </a:lnTo>
                  <a:lnTo>
                    <a:pt x="50" y="0"/>
                  </a:lnTo>
                  <a:lnTo>
                    <a:pt x="56" y="6"/>
                  </a:lnTo>
                  <a:lnTo>
                    <a:pt x="71" y="8"/>
                  </a:lnTo>
                  <a:lnTo>
                    <a:pt x="73" y="8"/>
                  </a:lnTo>
                  <a:lnTo>
                    <a:pt x="71" y="17"/>
                  </a:lnTo>
                  <a:lnTo>
                    <a:pt x="84" y="32"/>
                  </a:lnTo>
                  <a:lnTo>
                    <a:pt x="91" y="30"/>
                  </a:lnTo>
                  <a:lnTo>
                    <a:pt x="95" y="32"/>
                  </a:lnTo>
                  <a:lnTo>
                    <a:pt x="91" y="36"/>
                  </a:lnTo>
                  <a:lnTo>
                    <a:pt x="86" y="36"/>
                  </a:lnTo>
                  <a:lnTo>
                    <a:pt x="86" y="41"/>
                  </a:lnTo>
                  <a:lnTo>
                    <a:pt x="80" y="41"/>
                  </a:lnTo>
                  <a:lnTo>
                    <a:pt x="73" y="47"/>
                  </a:lnTo>
                  <a:lnTo>
                    <a:pt x="73" y="58"/>
                  </a:lnTo>
                  <a:lnTo>
                    <a:pt x="71" y="60"/>
                  </a:lnTo>
                  <a:lnTo>
                    <a:pt x="65" y="62"/>
                  </a:lnTo>
                  <a:lnTo>
                    <a:pt x="60" y="79"/>
                  </a:lnTo>
                  <a:lnTo>
                    <a:pt x="73" y="95"/>
                  </a:lnTo>
                  <a:lnTo>
                    <a:pt x="80" y="105"/>
                  </a:lnTo>
                  <a:lnTo>
                    <a:pt x="95" y="120"/>
                  </a:lnTo>
                  <a:lnTo>
                    <a:pt x="101" y="125"/>
                  </a:lnTo>
                  <a:lnTo>
                    <a:pt x="103" y="127"/>
                  </a:lnTo>
                  <a:lnTo>
                    <a:pt x="110" y="136"/>
                  </a:lnTo>
                  <a:lnTo>
                    <a:pt x="116" y="142"/>
                  </a:lnTo>
                  <a:lnTo>
                    <a:pt x="121" y="142"/>
                  </a:lnTo>
                  <a:lnTo>
                    <a:pt x="121" y="153"/>
                  </a:lnTo>
                  <a:lnTo>
                    <a:pt x="129" y="177"/>
                  </a:lnTo>
                  <a:lnTo>
                    <a:pt x="129" y="183"/>
                  </a:lnTo>
                  <a:lnTo>
                    <a:pt x="132" y="185"/>
                  </a:lnTo>
                  <a:lnTo>
                    <a:pt x="129" y="190"/>
                  </a:lnTo>
                  <a:lnTo>
                    <a:pt x="129" y="192"/>
                  </a:lnTo>
                  <a:lnTo>
                    <a:pt x="132" y="196"/>
                  </a:lnTo>
                  <a:lnTo>
                    <a:pt x="129" y="200"/>
                  </a:lnTo>
                  <a:lnTo>
                    <a:pt x="132" y="205"/>
                  </a:lnTo>
                  <a:lnTo>
                    <a:pt x="125" y="215"/>
                  </a:lnTo>
                  <a:lnTo>
                    <a:pt x="116" y="220"/>
                  </a:lnTo>
                  <a:lnTo>
                    <a:pt x="110" y="220"/>
                  </a:lnTo>
                  <a:lnTo>
                    <a:pt x="106" y="226"/>
                  </a:lnTo>
                  <a:lnTo>
                    <a:pt x="91" y="233"/>
                  </a:lnTo>
                  <a:lnTo>
                    <a:pt x="88" y="235"/>
                  </a:lnTo>
                  <a:lnTo>
                    <a:pt x="86" y="246"/>
                  </a:lnTo>
                  <a:lnTo>
                    <a:pt x="80" y="239"/>
                  </a:lnTo>
                  <a:lnTo>
                    <a:pt x="80" y="250"/>
                  </a:lnTo>
                  <a:lnTo>
                    <a:pt x="71" y="250"/>
                  </a:lnTo>
                  <a:lnTo>
                    <a:pt x="58" y="261"/>
                  </a:lnTo>
                  <a:lnTo>
                    <a:pt x="58" y="241"/>
                  </a:lnTo>
                  <a:lnTo>
                    <a:pt x="60" y="239"/>
                  </a:lnTo>
                  <a:lnTo>
                    <a:pt x="58" y="233"/>
                  </a:lnTo>
                  <a:lnTo>
                    <a:pt x="56" y="233"/>
                  </a:lnTo>
                  <a:lnTo>
                    <a:pt x="52" y="231"/>
                  </a:lnTo>
                  <a:lnTo>
                    <a:pt x="67" y="222"/>
                  </a:lnTo>
                  <a:lnTo>
                    <a:pt x="75" y="220"/>
                  </a:lnTo>
                  <a:lnTo>
                    <a:pt x="75" y="215"/>
                  </a:lnTo>
                  <a:lnTo>
                    <a:pt x="73" y="207"/>
                  </a:lnTo>
                  <a:lnTo>
                    <a:pt x="80" y="205"/>
                  </a:lnTo>
                  <a:lnTo>
                    <a:pt x="88" y="200"/>
                  </a:lnTo>
                  <a:lnTo>
                    <a:pt x="95" y="200"/>
                  </a:lnTo>
                  <a:lnTo>
                    <a:pt x="101" y="196"/>
                  </a:lnTo>
                  <a:lnTo>
                    <a:pt x="101" y="183"/>
                  </a:lnTo>
                  <a:lnTo>
                    <a:pt x="99" y="168"/>
                  </a:lnTo>
                  <a:lnTo>
                    <a:pt x="99" y="162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9" y="142"/>
                  </a:lnTo>
                  <a:lnTo>
                    <a:pt x="95" y="142"/>
                  </a:lnTo>
                  <a:lnTo>
                    <a:pt x="95" y="131"/>
                  </a:lnTo>
                  <a:lnTo>
                    <a:pt x="84" y="120"/>
                  </a:lnTo>
                  <a:lnTo>
                    <a:pt x="75" y="112"/>
                  </a:lnTo>
                  <a:lnTo>
                    <a:pt x="67" y="103"/>
                  </a:lnTo>
                  <a:lnTo>
                    <a:pt x="60" y="95"/>
                  </a:lnTo>
                  <a:lnTo>
                    <a:pt x="56" y="88"/>
                  </a:lnTo>
                  <a:lnTo>
                    <a:pt x="52" y="86"/>
                  </a:lnTo>
                  <a:lnTo>
                    <a:pt x="34" y="73"/>
                  </a:lnTo>
                  <a:lnTo>
                    <a:pt x="34" y="67"/>
                  </a:lnTo>
                  <a:lnTo>
                    <a:pt x="41" y="67"/>
                  </a:lnTo>
                  <a:lnTo>
                    <a:pt x="45" y="67"/>
                  </a:lnTo>
                  <a:lnTo>
                    <a:pt x="45" y="58"/>
                  </a:lnTo>
                  <a:lnTo>
                    <a:pt x="43" y="51"/>
                  </a:lnTo>
                  <a:lnTo>
                    <a:pt x="41" y="51"/>
                  </a:lnTo>
                  <a:lnTo>
                    <a:pt x="37" y="45"/>
                  </a:lnTo>
                  <a:lnTo>
                    <a:pt x="24" y="45"/>
                  </a:lnTo>
                  <a:lnTo>
                    <a:pt x="11" y="41"/>
                  </a:lnTo>
                  <a:lnTo>
                    <a:pt x="11" y="30"/>
                  </a:lnTo>
                  <a:lnTo>
                    <a:pt x="11" y="26"/>
                  </a:lnTo>
                  <a:lnTo>
                    <a:pt x="4" y="23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2" name="Freeform 146"/>
            <p:cNvSpPr>
              <a:spLocks noChangeAspect="1"/>
            </p:cNvSpPr>
            <p:nvPr/>
          </p:nvSpPr>
          <p:spPr bwMode="auto">
            <a:xfrm>
              <a:off x="4585" y="2574"/>
              <a:ext cx="172" cy="110"/>
            </a:xfrm>
            <a:custGeom>
              <a:avLst/>
              <a:gdLst>
                <a:gd name="T0" fmla="*/ 624 w 156"/>
                <a:gd name="T1" fmla="*/ 59 h 108"/>
                <a:gd name="T2" fmla="*/ 624 w 156"/>
                <a:gd name="T3" fmla="*/ 72 h 108"/>
                <a:gd name="T4" fmla="*/ 697 w 156"/>
                <a:gd name="T5" fmla="*/ 67 h 108"/>
                <a:gd name="T6" fmla="*/ 752 w 156"/>
                <a:gd name="T7" fmla="*/ 67 h 108"/>
                <a:gd name="T8" fmla="*/ 697 w 156"/>
                <a:gd name="T9" fmla="*/ 59 h 108"/>
                <a:gd name="T10" fmla="*/ 719 w 156"/>
                <a:gd name="T11" fmla="*/ 57 h 108"/>
                <a:gd name="T12" fmla="*/ 752 w 156"/>
                <a:gd name="T13" fmla="*/ 48 h 108"/>
                <a:gd name="T14" fmla="*/ 793 w 156"/>
                <a:gd name="T15" fmla="*/ 24 h 108"/>
                <a:gd name="T16" fmla="*/ 827 w 156"/>
                <a:gd name="T17" fmla="*/ 48 h 108"/>
                <a:gd name="T18" fmla="*/ 880 w 156"/>
                <a:gd name="T19" fmla="*/ 13 h 108"/>
                <a:gd name="T20" fmla="*/ 934 w 156"/>
                <a:gd name="T21" fmla="*/ 0 h 108"/>
                <a:gd name="T22" fmla="*/ 959 w 156"/>
                <a:gd name="T23" fmla="*/ 4 h 108"/>
                <a:gd name="T24" fmla="*/ 959 w 156"/>
                <a:gd name="T25" fmla="*/ 9 h 108"/>
                <a:gd name="T26" fmla="*/ 970 w 156"/>
                <a:gd name="T27" fmla="*/ 4 h 108"/>
                <a:gd name="T28" fmla="*/ 1006 w 156"/>
                <a:gd name="T29" fmla="*/ 4 h 108"/>
                <a:gd name="T30" fmla="*/ 1006 w 156"/>
                <a:gd name="T31" fmla="*/ 9 h 108"/>
                <a:gd name="T32" fmla="*/ 1064 w 156"/>
                <a:gd name="T33" fmla="*/ 9 h 108"/>
                <a:gd name="T34" fmla="*/ 1064 w 156"/>
                <a:gd name="T35" fmla="*/ 15 h 108"/>
                <a:gd name="T36" fmla="*/ 1081 w 156"/>
                <a:gd name="T37" fmla="*/ 19 h 108"/>
                <a:gd name="T38" fmla="*/ 1089 w 156"/>
                <a:gd name="T39" fmla="*/ 19 h 108"/>
                <a:gd name="T40" fmla="*/ 1089 w 156"/>
                <a:gd name="T41" fmla="*/ 21 h 108"/>
                <a:gd name="T42" fmla="*/ 1081 w 156"/>
                <a:gd name="T43" fmla="*/ 24 h 108"/>
                <a:gd name="T44" fmla="*/ 1122 w 156"/>
                <a:gd name="T45" fmla="*/ 24 h 108"/>
                <a:gd name="T46" fmla="*/ 1173 w 156"/>
                <a:gd name="T47" fmla="*/ 21 h 108"/>
                <a:gd name="T48" fmla="*/ 1216 w 156"/>
                <a:gd name="T49" fmla="*/ 48 h 108"/>
                <a:gd name="T50" fmla="*/ 1293 w 156"/>
                <a:gd name="T51" fmla="*/ 48 h 108"/>
                <a:gd name="T52" fmla="*/ 1293 w 156"/>
                <a:gd name="T53" fmla="*/ 54 h 108"/>
                <a:gd name="T54" fmla="*/ 1216 w 156"/>
                <a:gd name="T55" fmla="*/ 54 h 108"/>
                <a:gd name="T56" fmla="*/ 1179 w 156"/>
                <a:gd name="T57" fmla="*/ 57 h 108"/>
                <a:gd name="T58" fmla="*/ 1173 w 156"/>
                <a:gd name="T59" fmla="*/ 57 h 108"/>
                <a:gd name="T60" fmla="*/ 1122 w 156"/>
                <a:gd name="T61" fmla="*/ 57 h 108"/>
                <a:gd name="T62" fmla="*/ 1193 w 156"/>
                <a:gd name="T63" fmla="*/ 67 h 108"/>
                <a:gd name="T64" fmla="*/ 1089 w 156"/>
                <a:gd name="T65" fmla="*/ 70 h 108"/>
                <a:gd name="T66" fmla="*/ 1081 w 156"/>
                <a:gd name="T67" fmla="*/ 67 h 108"/>
                <a:gd name="T68" fmla="*/ 1064 w 156"/>
                <a:gd name="T69" fmla="*/ 70 h 108"/>
                <a:gd name="T70" fmla="*/ 1081 w 156"/>
                <a:gd name="T71" fmla="*/ 74 h 108"/>
                <a:gd name="T72" fmla="*/ 837 w 156"/>
                <a:gd name="T73" fmla="*/ 72 h 108"/>
                <a:gd name="T74" fmla="*/ 793 w 156"/>
                <a:gd name="T75" fmla="*/ 101 h 108"/>
                <a:gd name="T76" fmla="*/ 719 w 156"/>
                <a:gd name="T77" fmla="*/ 105 h 108"/>
                <a:gd name="T78" fmla="*/ 697 w 156"/>
                <a:gd name="T79" fmla="*/ 133 h 108"/>
                <a:gd name="T80" fmla="*/ 560 w 156"/>
                <a:gd name="T81" fmla="*/ 144 h 108"/>
                <a:gd name="T82" fmla="*/ 428 w 156"/>
                <a:gd name="T83" fmla="*/ 154 h 108"/>
                <a:gd name="T84" fmla="*/ 262 w 156"/>
                <a:gd name="T85" fmla="*/ 147 h 108"/>
                <a:gd name="T86" fmla="*/ 186 w 156"/>
                <a:gd name="T87" fmla="*/ 147 h 108"/>
                <a:gd name="T88" fmla="*/ 41 w 156"/>
                <a:gd name="T89" fmla="*/ 138 h 108"/>
                <a:gd name="T90" fmla="*/ 0 w 156"/>
                <a:gd name="T91" fmla="*/ 128 h 108"/>
                <a:gd name="T92" fmla="*/ 74 w 156"/>
                <a:gd name="T93" fmla="*/ 128 h 108"/>
                <a:gd name="T94" fmla="*/ 120 w 156"/>
                <a:gd name="T95" fmla="*/ 133 h 108"/>
                <a:gd name="T96" fmla="*/ 169 w 156"/>
                <a:gd name="T97" fmla="*/ 133 h 108"/>
                <a:gd name="T98" fmla="*/ 186 w 156"/>
                <a:gd name="T99" fmla="*/ 124 h 108"/>
                <a:gd name="T100" fmla="*/ 196 w 156"/>
                <a:gd name="T101" fmla="*/ 105 h 108"/>
                <a:gd name="T102" fmla="*/ 289 w 156"/>
                <a:gd name="T103" fmla="*/ 101 h 108"/>
                <a:gd name="T104" fmla="*/ 428 w 156"/>
                <a:gd name="T105" fmla="*/ 89 h 108"/>
                <a:gd name="T106" fmla="*/ 602 w 156"/>
                <a:gd name="T107" fmla="*/ 63 h 108"/>
                <a:gd name="T108" fmla="*/ 624 w 156"/>
                <a:gd name="T109" fmla="*/ 59 h 10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6"/>
                <a:gd name="T166" fmla="*/ 0 h 108"/>
                <a:gd name="T167" fmla="*/ 156 w 156"/>
                <a:gd name="T168" fmla="*/ 108 h 10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6" h="108">
                  <a:moveTo>
                    <a:pt x="76" y="39"/>
                  </a:moveTo>
                  <a:lnTo>
                    <a:pt x="76" y="52"/>
                  </a:lnTo>
                  <a:lnTo>
                    <a:pt x="84" y="47"/>
                  </a:lnTo>
                  <a:lnTo>
                    <a:pt x="91" y="47"/>
                  </a:lnTo>
                  <a:lnTo>
                    <a:pt x="84" y="39"/>
                  </a:lnTo>
                  <a:lnTo>
                    <a:pt x="87" y="37"/>
                  </a:lnTo>
                  <a:lnTo>
                    <a:pt x="91" y="28"/>
                  </a:lnTo>
                  <a:lnTo>
                    <a:pt x="95" y="24"/>
                  </a:lnTo>
                  <a:lnTo>
                    <a:pt x="100" y="28"/>
                  </a:lnTo>
                  <a:lnTo>
                    <a:pt x="106" y="13"/>
                  </a:lnTo>
                  <a:lnTo>
                    <a:pt x="113" y="0"/>
                  </a:lnTo>
                  <a:lnTo>
                    <a:pt x="115" y="4"/>
                  </a:lnTo>
                  <a:lnTo>
                    <a:pt x="115" y="9"/>
                  </a:lnTo>
                  <a:lnTo>
                    <a:pt x="117" y="4"/>
                  </a:lnTo>
                  <a:lnTo>
                    <a:pt x="121" y="4"/>
                  </a:lnTo>
                  <a:lnTo>
                    <a:pt x="121" y="9"/>
                  </a:lnTo>
                  <a:lnTo>
                    <a:pt x="128" y="9"/>
                  </a:lnTo>
                  <a:lnTo>
                    <a:pt x="128" y="15"/>
                  </a:lnTo>
                  <a:lnTo>
                    <a:pt x="130" y="19"/>
                  </a:lnTo>
                  <a:lnTo>
                    <a:pt x="132" y="19"/>
                  </a:lnTo>
                  <a:lnTo>
                    <a:pt x="132" y="21"/>
                  </a:lnTo>
                  <a:lnTo>
                    <a:pt x="130" y="24"/>
                  </a:lnTo>
                  <a:lnTo>
                    <a:pt x="136" y="24"/>
                  </a:lnTo>
                  <a:lnTo>
                    <a:pt x="141" y="21"/>
                  </a:lnTo>
                  <a:lnTo>
                    <a:pt x="147" y="28"/>
                  </a:lnTo>
                  <a:lnTo>
                    <a:pt x="156" y="28"/>
                  </a:lnTo>
                  <a:lnTo>
                    <a:pt x="156" y="34"/>
                  </a:lnTo>
                  <a:lnTo>
                    <a:pt x="147" y="34"/>
                  </a:lnTo>
                  <a:lnTo>
                    <a:pt x="143" y="37"/>
                  </a:lnTo>
                  <a:lnTo>
                    <a:pt x="141" y="37"/>
                  </a:lnTo>
                  <a:lnTo>
                    <a:pt x="136" y="37"/>
                  </a:lnTo>
                  <a:lnTo>
                    <a:pt x="145" y="47"/>
                  </a:lnTo>
                  <a:lnTo>
                    <a:pt x="132" y="50"/>
                  </a:lnTo>
                  <a:lnTo>
                    <a:pt x="130" y="47"/>
                  </a:lnTo>
                  <a:lnTo>
                    <a:pt x="128" y="50"/>
                  </a:lnTo>
                  <a:lnTo>
                    <a:pt x="130" y="54"/>
                  </a:lnTo>
                  <a:lnTo>
                    <a:pt x="102" y="52"/>
                  </a:lnTo>
                  <a:lnTo>
                    <a:pt x="95" y="71"/>
                  </a:lnTo>
                  <a:lnTo>
                    <a:pt x="87" y="73"/>
                  </a:lnTo>
                  <a:lnTo>
                    <a:pt x="84" y="93"/>
                  </a:lnTo>
                  <a:lnTo>
                    <a:pt x="67" y="101"/>
                  </a:lnTo>
                  <a:lnTo>
                    <a:pt x="52" y="108"/>
                  </a:lnTo>
                  <a:lnTo>
                    <a:pt x="31" y="103"/>
                  </a:lnTo>
                  <a:lnTo>
                    <a:pt x="22" y="103"/>
                  </a:lnTo>
                  <a:lnTo>
                    <a:pt x="5" y="97"/>
                  </a:lnTo>
                  <a:lnTo>
                    <a:pt x="0" y="88"/>
                  </a:lnTo>
                  <a:lnTo>
                    <a:pt x="9" y="88"/>
                  </a:lnTo>
                  <a:lnTo>
                    <a:pt x="15" y="93"/>
                  </a:lnTo>
                  <a:lnTo>
                    <a:pt x="20" y="93"/>
                  </a:lnTo>
                  <a:lnTo>
                    <a:pt x="22" y="84"/>
                  </a:lnTo>
                  <a:lnTo>
                    <a:pt x="24" y="73"/>
                  </a:lnTo>
                  <a:lnTo>
                    <a:pt x="35" y="71"/>
                  </a:lnTo>
                  <a:lnTo>
                    <a:pt x="52" y="65"/>
                  </a:lnTo>
                  <a:lnTo>
                    <a:pt x="72" y="43"/>
                  </a:lnTo>
                  <a:lnTo>
                    <a:pt x="76" y="39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3" name="Freeform 147"/>
            <p:cNvSpPr>
              <a:spLocks noChangeAspect="1"/>
            </p:cNvSpPr>
            <p:nvPr/>
          </p:nvSpPr>
          <p:spPr bwMode="auto">
            <a:xfrm>
              <a:off x="4472" y="2664"/>
              <a:ext cx="11" cy="11"/>
            </a:xfrm>
            <a:custGeom>
              <a:avLst/>
              <a:gdLst>
                <a:gd name="T0" fmla="*/ 11 w 11"/>
                <a:gd name="T1" fmla="*/ 0 h 11"/>
                <a:gd name="T2" fmla="*/ 6 w 11"/>
                <a:gd name="T3" fmla="*/ 7 h 11"/>
                <a:gd name="T4" fmla="*/ 4 w 11"/>
                <a:gd name="T5" fmla="*/ 11 h 11"/>
                <a:gd name="T6" fmla="*/ 0 w 11"/>
                <a:gd name="T7" fmla="*/ 7 h 11"/>
                <a:gd name="T8" fmla="*/ 0 w 11"/>
                <a:gd name="T9" fmla="*/ 5 h 11"/>
                <a:gd name="T10" fmla="*/ 11 w 11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1"/>
                <a:gd name="T20" fmla="*/ 11 w 11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1">
                  <a:moveTo>
                    <a:pt x="11" y="0"/>
                  </a:moveTo>
                  <a:lnTo>
                    <a:pt x="6" y="7"/>
                  </a:lnTo>
                  <a:lnTo>
                    <a:pt x="4" y="11"/>
                  </a:lnTo>
                  <a:lnTo>
                    <a:pt x="0" y="7"/>
                  </a:lnTo>
                  <a:lnTo>
                    <a:pt x="0" y="5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4" name="Freeform 148"/>
            <p:cNvSpPr>
              <a:spLocks noChangeAspect="1"/>
            </p:cNvSpPr>
            <p:nvPr/>
          </p:nvSpPr>
          <p:spPr bwMode="auto">
            <a:xfrm>
              <a:off x="3372" y="2390"/>
              <a:ext cx="79" cy="81"/>
            </a:xfrm>
            <a:custGeom>
              <a:avLst/>
              <a:gdLst>
                <a:gd name="T0" fmla="*/ 97 w 71"/>
                <a:gd name="T1" fmla="*/ 129 h 79"/>
                <a:gd name="T2" fmla="*/ 78 w 71"/>
                <a:gd name="T3" fmla="*/ 114 h 79"/>
                <a:gd name="T4" fmla="*/ 63 w 71"/>
                <a:gd name="T5" fmla="*/ 88 h 79"/>
                <a:gd name="T6" fmla="*/ 0 w 71"/>
                <a:gd name="T7" fmla="*/ 56 h 79"/>
                <a:gd name="T8" fmla="*/ 0 w 71"/>
                <a:gd name="T9" fmla="*/ 48 h 79"/>
                <a:gd name="T10" fmla="*/ 0 w 71"/>
                <a:gd name="T11" fmla="*/ 41 h 79"/>
                <a:gd name="T12" fmla="*/ 78 w 71"/>
                <a:gd name="T13" fmla="*/ 15 h 79"/>
                <a:gd name="T14" fmla="*/ 78 w 71"/>
                <a:gd name="T15" fmla="*/ 4 h 79"/>
                <a:gd name="T16" fmla="*/ 97 w 71"/>
                <a:gd name="T17" fmla="*/ 4 h 79"/>
                <a:gd name="T18" fmla="*/ 166 w 71"/>
                <a:gd name="T19" fmla="*/ 4 h 79"/>
                <a:gd name="T20" fmla="*/ 310 w 71"/>
                <a:gd name="T21" fmla="*/ 0 h 79"/>
                <a:gd name="T22" fmla="*/ 601 w 71"/>
                <a:gd name="T23" fmla="*/ 15 h 79"/>
                <a:gd name="T24" fmla="*/ 601 w 71"/>
                <a:gd name="T25" fmla="*/ 48 h 79"/>
                <a:gd name="T26" fmla="*/ 707 w 71"/>
                <a:gd name="T27" fmla="*/ 45 h 79"/>
                <a:gd name="T28" fmla="*/ 625 w 71"/>
                <a:gd name="T29" fmla="*/ 58 h 79"/>
                <a:gd name="T30" fmla="*/ 550 w 71"/>
                <a:gd name="T31" fmla="*/ 78 h 79"/>
                <a:gd name="T32" fmla="*/ 550 w 71"/>
                <a:gd name="T33" fmla="*/ 96 h 79"/>
                <a:gd name="T34" fmla="*/ 670 w 71"/>
                <a:gd name="T35" fmla="*/ 88 h 79"/>
                <a:gd name="T36" fmla="*/ 670 w 71"/>
                <a:gd name="T37" fmla="*/ 88 h 79"/>
                <a:gd name="T38" fmla="*/ 584 w 71"/>
                <a:gd name="T39" fmla="*/ 100 h 79"/>
                <a:gd name="T40" fmla="*/ 444 w 71"/>
                <a:gd name="T41" fmla="*/ 106 h 79"/>
                <a:gd name="T42" fmla="*/ 97 w 71"/>
                <a:gd name="T43" fmla="*/ 129 h 7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1"/>
                <a:gd name="T67" fmla="*/ 0 h 79"/>
                <a:gd name="T68" fmla="*/ 71 w 71"/>
                <a:gd name="T69" fmla="*/ 79 h 7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1" h="79">
                  <a:moveTo>
                    <a:pt x="10" y="79"/>
                  </a:moveTo>
                  <a:lnTo>
                    <a:pt x="8" y="69"/>
                  </a:lnTo>
                  <a:lnTo>
                    <a:pt x="6" y="54"/>
                  </a:lnTo>
                  <a:lnTo>
                    <a:pt x="0" y="36"/>
                  </a:lnTo>
                  <a:lnTo>
                    <a:pt x="0" y="28"/>
                  </a:lnTo>
                  <a:lnTo>
                    <a:pt x="0" y="21"/>
                  </a:lnTo>
                  <a:lnTo>
                    <a:pt x="8" y="15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7" y="4"/>
                  </a:lnTo>
                  <a:lnTo>
                    <a:pt x="30" y="0"/>
                  </a:lnTo>
                  <a:lnTo>
                    <a:pt x="60" y="15"/>
                  </a:lnTo>
                  <a:lnTo>
                    <a:pt x="60" y="28"/>
                  </a:lnTo>
                  <a:lnTo>
                    <a:pt x="71" y="25"/>
                  </a:lnTo>
                  <a:lnTo>
                    <a:pt x="64" y="38"/>
                  </a:lnTo>
                  <a:lnTo>
                    <a:pt x="56" y="49"/>
                  </a:lnTo>
                  <a:lnTo>
                    <a:pt x="56" y="58"/>
                  </a:lnTo>
                  <a:lnTo>
                    <a:pt x="67" y="54"/>
                  </a:lnTo>
                  <a:lnTo>
                    <a:pt x="58" y="60"/>
                  </a:lnTo>
                  <a:lnTo>
                    <a:pt x="45" y="64"/>
                  </a:lnTo>
                  <a:lnTo>
                    <a:pt x="10" y="7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5" name="Freeform 149"/>
            <p:cNvSpPr>
              <a:spLocks noChangeAspect="1"/>
            </p:cNvSpPr>
            <p:nvPr/>
          </p:nvSpPr>
          <p:spPr bwMode="auto">
            <a:xfrm>
              <a:off x="3384" y="2364"/>
              <a:ext cx="177" cy="112"/>
            </a:xfrm>
            <a:custGeom>
              <a:avLst/>
              <a:gdLst>
                <a:gd name="T0" fmla="*/ 1260 w 160"/>
                <a:gd name="T1" fmla="*/ 0 h 110"/>
                <a:gd name="T2" fmla="*/ 1425 w 160"/>
                <a:gd name="T3" fmla="*/ 61 h 110"/>
                <a:gd name="T4" fmla="*/ 1291 w 160"/>
                <a:gd name="T5" fmla="*/ 65 h 110"/>
                <a:gd name="T6" fmla="*/ 1291 w 160"/>
                <a:gd name="T7" fmla="*/ 76 h 110"/>
                <a:gd name="T8" fmla="*/ 1291 w 160"/>
                <a:gd name="T9" fmla="*/ 80 h 110"/>
                <a:gd name="T10" fmla="*/ 931 w 160"/>
                <a:gd name="T11" fmla="*/ 107 h 110"/>
                <a:gd name="T12" fmla="*/ 845 w 160"/>
                <a:gd name="T13" fmla="*/ 111 h 110"/>
                <a:gd name="T14" fmla="*/ 773 w 160"/>
                <a:gd name="T15" fmla="*/ 126 h 110"/>
                <a:gd name="T16" fmla="*/ 717 w 160"/>
                <a:gd name="T17" fmla="*/ 126 h 110"/>
                <a:gd name="T18" fmla="*/ 688 w 160"/>
                <a:gd name="T19" fmla="*/ 126 h 110"/>
                <a:gd name="T20" fmla="*/ 519 w 160"/>
                <a:gd name="T21" fmla="*/ 135 h 110"/>
                <a:gd name="T22" fmla="*/ 344 w 160"/>
                <a:gd name="T23" fmla="*/ 139 h 110"/>
                <a:gd name="T24" fmla="*/ 252 w 160"/>
                <a:gd name="T25" fmla="*/ 142 h 110"/>
                <a:gd name="T26" fmla="*/ 252 w 160"/>
                <a:gd name="T27" fmla="*/ 156 h 110"/>
                <a:gd name="T28" fmla="*/ 186 w 160"/>
                <a:gd name="T29" fmla="*/ 156 h 110"/>
                <a:gd name="T30" fmla="*/ 62 w 160"/>
                <a:gd name="T31" fmla="*/ 156 h 110"/>
                <a:gd name="T32" fmla="*/ 0 w 160"/>
                <a:gd name="T33" fmla="*/ 148 h 110"/>
                <a:gd name="T34" fmla="*/ 309 w 160"/>
                <a:gd name="T35" fmla="*/ 130 h 110"/>
                <a:gd name="T36" fmla="*/ 415 w 160"/>
                <a:gd name="T37" fmla="*/ 126 h 110"/>
                <a:gd name="T38" fmla="*/ 511 w 160"/>
                <a:gd name="T39" fmla="*/ 117 h 110"/>
                <a:gd name="T40" fmla="*/ 511 w 160"/>
                <a:gd name="T41" fmla="*/ 111 h 110"/>
                <a:gd name="T42" fmla="*/ 394 w 160"/>
                <a:gd name="T43" fmla="*/ 124 h 110"/>
                <a:gd name="T44" fmla="*/ 394 w 160"/>
                <a:gd name="T45" fmla="*/ 107 h 110"/>
                <a:gd name="T46" fmla="*/ 482 w 160"/>
                <a:gd name="T47" fmla="*/ 85 h 110"/>
                <a:gd name="T48" fmla="*/ 519 w 160"/>
                <a:gd name="T49" fmla="*/ 69 h 110"/>
                <a:gd name="T50" fmla="*/ 773 w 160"/>
                <a:gd name="T51" fmla="*/ 13 h 110"/>
                <a:gd name="T52" fmla="*/ 1260 w 160"/>
                <a:gd name="T53" fmla="*/ 0 h 1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0"/>
                <a:gd name="T82" fmla="*/ 0 h 110"/>
                <a:gd name="T83" fmla="*/ 160 w 160"/>
                <a:gd name="T84" fmla="*/ 110 h 11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0" h="110">
                  <a:moveTo>
                    <a:pt x="141" y="0"/>
                  </a:moveTo>
                  <a:lnTo>
                    <a:pt x="160" y="41"/>
                  </a:lnTo>
                  <a:lnTo>
                    <a:pt x="145" y="45"/>
                  </a:lnTo>
                  <a:lnTo>
                    <a:pt x="145" y="56"/>
                  </a:lnTo>
                  <a:lnTo>
                    <a:pt x="145" y="60"/>
                  </a:lnTo>
                  <a:lnTo>
                    <a:pt x="104" y="75"/>
                  </a:lnTo>
                  <a:lnTo>
                    <a:pt x="95" y="77"/>
                  </a:lnTo>
                  <a:lnTo>
                    <a:pt x="87" y="86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59" y="95"/>
                  </a:lnTo>
                  <a:lnTo>
                    <a:pt x="39" y="99"/>
                  </a:lnTo>
                  <a:lnTo>
                    <a:pt x="28" y="101"/>
                  </a:lnTo>
                  <a:lnTo>
                    <a:pt x="28" y="110"/>
                  </a:lnTo>
                  <a:lnTo>
                    <a:pt x="20" y="110"/>
                  </a:lnTo>
                  <a:lnTo>
                    <a:pt x="7" y="110"/>
                  </a:lnTo>
                  <a:lnTo>
                    <a:pt x="0" y="105"/>
                  </a:lnTo>
                  <a:lnTo>
                    <a:pt x="35" y="90"/>
                  </a:lnTo>
                  <a:lnTo>
                    <a:pt x="46" y="86"/>
                  </a:lnTo>
                  <a:lnTo>
                    <a:pt x="57" y="80"/>
                  </a:lnTo>
                  <a:lnTo>
                    <a:pt x="57" y="77"/>
                  </a:lnTo>
                  <a:lnTo>
                    <a:pt x="44" y="84"/>
                  </a:lnTo>
                  <a:lnTo>
                    <a:pt x="44" y="75"/>
                  </a:lnTo>
                  <a:lnTo>
                    <a:pt x="54" y="64"/>
                  </a:lnTo>
                  <a:lnTo>
                    <a:pt x="59" y="49"/>
                  </a:lnTo>
                  <a:lnTo>
                    <a:pt x="87" y="13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6" name="Freeform 150"/>
            <p:cNvSpPr>
              <a:spLocks noChangeAspect="1"/>
            </p:cNvSpPr>
            <p:nvPr/>
          </p:nvSpPr>
          <p:spPr bwMode="auto">
            <a:xfrm>
              <a:off x="4549" y="2343"/>
              <a:ext cx="42" cy="36"/>
            </a:xfrm>
            <a:custGeom>
              <a:avLst/>
              <a:gdLst>
                <a:gd name="T0" fmla="*/ 204 w 37"/>
                <a:gd name="T1" fmla="*/ 2 h 35"/>
                <a:gd name="T2" fmla="*/ 140 w 37"/>
                <a:gd name="T3" fmla="*/ 2 h 35"/>
                <a:gd name="T4" fmla="*/ 140 w 37"/>
                <a:gd name="T5" fmla="*/ 9 h 35"/>
                <a:gd name="T6" fmla="*/ 0 w 37"/>
                <a:gd name="T7" fmla="*/ 15 h 35"/>
                <a:gd name="T8" fmla="*/ 0 w 37"/>
                <a:gd name="T9" fmla="*/ 46 h 35"/>
                <a:gd name="T10" fmla="*/ 238 w 37"/>
                <a:gd name="T11" fmla="*/ 57 h 35"/>
                <a:gd name="T12" fmla="*/ 299 w 37"/>
                <a:gd name="T13" fmla="*/ 46 h 35"/>
                <a:gd name="T14" fmla="*/ 465 w 37"/>
                <a:gd name="T15" fmla="*/ 44 h 35"/>
                <a:gd name="T16" fmla="*/ 465 w 37"/>
                <a:gd name="T17" fmla="*/ 15 h 35"/>
                <a:gd name="T18" fmla="*/ 571 w 37"/>
                <a:gd name="T19" fmla="*/ 9 h 35"/>
                <a:gd name="T20" fmla="*/ 571 w 37"/>
                <a:gd name="T21" fmla="*/ 2 h 35"/>
                <a:gd name="T22" fmla="*/ 496 w 37"/>
                <a:gd name="T23" fmla="*/ 0 h 35"/>
                <a:gd name="T24" fmla="*/ 465 w 37"/>
                <a:gd name="T25" fmla="*/ 2 h 35"/>
                <a:gd name="T26" fmla="*/ 238 w 37"/>
                <a:gd name="T27" fmla="*/ 2 h 35"/>
                <a:gd name="T28" fmla="*/ 204 w 37"/>
                <a:gd name="T29" fmla="*/ 2 h 3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7"/>
                <a:gd name="T46" fmla="*/ 0 h 35"/>
                <a:gd name="T47" fmla="*/ 37 w 37"/>
                <a:gd name="T48" fmla="*/ 35 h 3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7" h="35">
                  <a:moveTo>
                    <a:pt x="13" y="2"/>
                  </a:moveTo>
                  <a:lnTo>
                    <a:pt x="9" y="2"/>
                  </a:lnTo>
                  <a:lnTo>
                    <a:pt x="9" y="9"/>
                  </a:lnTo>
                  <a:lnTo>
                    <a:pt x="0" y="15"/>
                  </a:lnTo>
                  <a:lnTo>
                    <a:pt x="0" y="26"/>
                  </a:lnTo>
                  <a:lnTo>
                    <a:pt x="15" y="35"/>
                  </a:lnTo>
                  <a:lnTo>
                    <a:pt x="19" y="26"/>
                  </a:lnTo>
                  <a:lnTo>
                    <a:pt x="30" y="24"/>
                  </a:lnTo>
                  <a:lnTo>
                    <a:pt x="30" y="15"/>
                  </a:lnTo>
                  <a:lnTo>
                    <a:pt x="37" y="9"/>
                  </a:lnTo>
                  <a:lnTo>
                    <a:pt x="37" y="2"/>
                  </a:lnTo>
                  <a:lnTo>
                    <a:pt x="32" y="0"/>
                  </a:lnTo>
                  <a:lnTo>
                    <a:pt x="30" y="2"/>
                  </a:lnTo>
                  <a:lnTo>
                    <a:pt x="15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7" name="Freeform 151"/>
            <p:cNvSpPr>
              <a:spLocks noChangeAspect="1"/>
            </p:cNvSpPr>
            <p:nvPr/>
          </p:nvSpPr>
          <p:spPr bwMode="auto">
            <a:xfrm>
              <a:off x="3950" y="2612"/>
              <a:ext cx="8" cy="6"/>
            </a:xfrm>
            <a:custGeom>
              <a:avLst/>
              <a:gdLst>
                <a:gd name="T0" fmla="*/ 83 w 7"/>
                <a:gd name="T1" fmla="*/ 2 h 6"/>
                <a:gd name="T2" fmla="*/ 125 w 7"/>
                <a:gd name="T3" fmla="*/ 6 h 6"/>
                <a:gd name="T4" fmla="*/ 83 w 7"/>
                <a:gd name="T5" fmla="*/ 6 h 6"/>
                <a:gd name="T6" fmla="*/ 0 w 7"/>
                <a:gd name="T7" fmla="*/ 6 h 6"/>
                <a:gd name="T8" fmla="*/ 0 w 7"/>
                <a:gd name="T9" fmla="*/ 0 h 6"/>
                <a:gd name="T10" fmla="*/ 83 w 7"/>
                <a:gd name="T11" fmla="*/ 0 h 6"/>
                <a:gd name="T12" fmla="*/ 83 w 7"/>
                <a:gd name="T13" fmla="*/ 2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6"/>
                <a:gd name="T23" fmla="*/ 7 w 7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6">
                  <a:moveTo>
                    <a:pt x="4" y="2"/>
                  </a:moveTo>
                  <a:lnTo>
                    <a:pt x="7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8" name="Freeform 152"/>
            <p:cNvSpPr>
              <a:spLocks noChangeAspect="1"/>
            </p:cNvSpPr>
            <p:nvPr/>
          </p:nvSpPr>
          <p:spPr bwMode="auto">
            <a:xfrm>
              <a:off x="3380" y="1634"/>
              <a:ext cx="675" cy="319"/>
            </a:xfrm>
            <a:custGeom>
              <a:avLst/>
              <a:gdLst>
                <a:gd name="T0" fmla="*/ 4932 w 613"/>
                <a:gd name="T1" fmla="*/ 182 h 313"/>
                <a:gd name="T2" fmla="*/ 4771 w 613"/>
                <a:gd name="T3" fmla="*/ 195 h 313"/>
                <a:gd name="T4" fmla="*/ 4771 w 613"/>
                <a:gd name="T5" fmla="*/ 235 h 313"/>
                <a:gd name="T6" fmla="*/ 4487 w 613"/>
                <a:gd name="T7" fmla="*/ 283 h 313"/>
                <a:gd name="T8" fmla="*/ 4487 w 613"/>
                <a:gd name="T9" fmla="*/ 299 h 313"/>
                <a:gd name="T10" fmla="*/ 4232 w 613"/>
                <a:gd name="T11" fmla="*/ 312 h 313"/>
                <a:gd name="T12" fmla="*/ 4392 w 613"/>
                <a:gd name="T13" fmla="*/ 363 h 313"/>
                <a:gd name="T14" fmla="*/ 4277 w 613"/>
                <a:gd name="T15" fmla="*/ 400 h 313"/>
                <a:gd name="T16" fmla="*/ 3725 w 613"/>
                <a:gd name="T17" fmla="*/ 378 h 313"/>
                <a:gd name="T18" fmla="*/ 3573 w 613"/>
                <a:gd name="T19" fmla="*/ 370 h 313"/>
                <a:gd name="T20" fmla="*/ 3047 w 613"/>
                <a:gd name="T21" fmla="*/ 426 h 313"/>
                <a:gd name="T22" fmla="*/ 2920 w 613"/>
                <a:gd name="T23" fmla="*/ 438 h 313"/>
                <a:gd name="T24" fmla="*/ 2770 w 613"/>
                <a:gd name="T25" fmla="*/ 441 h 313"/>
                <a:gd name="T26" fmla="*/ 2588 w 613"/>
                <a:gd name="T27" fmla="*/ 430 h 313"/>
                <a:gd name="T28" fmla="*/ 2491 w 613"/>
                <a:gd name="T29" fmla="*/ 400 h 313"/>
                <a:gd name="T30" fmla="*/ 2358 w 613"/>
                <a:gd name="T31" fmla="*/ 384 h 313"/>
                <a:gd name="T32" fmla="*/ 2022 w 613"/>
                <a:gd name="T33" fmla="*/ 378 h 313"/>
                <a:gd name="T34" fmla="*/ 1761 w 613"/>
                <a:gd name="T35" fmla="*/ 357 h 313"/>
                <a:gd name="T36" fmla="*/ 1812 w 613"/>
                <a:gd name="T37" fmla="*/ 327 h 313"/>
                <a:gd name="T38" fmla="*/ 1844 w 613"/>
                <a:gd name="T39" fmla="*/ 283 h 313"/>
                <a:gd name="T40" fmla="*/ 1771 w 613"/>
                <a:gd name="T41" fmla="*/ 283 h 313"/>
                <a:gd name="T42" fmla="*/ 1351 w 613"/>
                <a:gd name="T43" fmla="*/ 305 h 313"/>
                <a:gd name="T44" fmla="*/ 1285 w 613"/>
                <a:gd name="T45" fmla="*/ 370 h 313"/>
                <a:gd name="T46" fmla="*/ 1285 w 613"/>
                <a:gd name="T47" fmla="*/ 438 h 313"/>
                <a:gd name="T48" fmla="*/ 1064 w 613"/>
                <a:gd name="T49" fmla="*/ 421 h 313"/>
                <a:gd name="T50" fmla="*/ 875 w 613"/>
                <a:gd name="T51" fmla="*/ 436 h 313"/>
                <a:gd name="T52" fmla="*/ 875 w 613"/>
                <a:gd name="T53" fmla="*/ 436 h 313"/>
                <a:gd name="T54" fmla="*/ 875 w 613"/>
                <a:gd name="T55" fmla="*/ 400 h 313"/>
                <a:gd name="T56" fmla="*/ 722 w 613"/>
                <a:gd name="T57" fmla="*/ 400 h 313"/>
                <a:gd name="T58" fmla="*/ 560 w 613"/>
                <a:gd name="T59" fmla="*/ 355 h 313"/>
                <a:gd name="T60" fmla="*/ 688 w 613"/>
                <a:gd name="T61" fmla="*/ 355 h 313"/>
                <a:gd name="T62" fmla="*/ 683 w 613"/>
                <a:gd name="T63" fmla="*/ 332 h 313"/>
                <a:gd name="T64" fmla="*/ 835 w 613"/>
                <a:gd name="T65" fmla="*/ 318 h 313"/>
                <a:gd name="T66" fmla="*/ 722 w 613"/>
                <a:gd name="T67" fmla="*/ 283 h 313"/>
                <a:gd name="T68" fmla="*/ 560 w 613"/>
                <a:gd name="T69" fmla="*/ 278 h 313"/>
                <a:gd name="T70" fmla="*/ 405 w 613"/>
                <a:gd name="T71" fmla="*/ 296 h 313"/>
                <a:gd name="T72" fmla="*/ 119 w 613"/>
                <a:gd name="T73" fmla="*/ 217 h 313"/>
                <a:gd name="T74" fmla="*/ 163 w 613"/>
                <a:gd name="T75" fmla="*/ 137 h 313"/>
                <a:gd name="T76" fmla="*/ 722 w 613"/>
                <a:gd name="T77" fmla="*/ 143 h 313"/>
                <a:gd name="T78" fmla="*/ 1439 w 613"/>
                <a:gd name="T79" fmla="*/ 122 h 313"/>
                <a:gd name="T80" fmla="*/ 2067 w 613"/>
                <a:gd name="T81" fmla="*/ 9 h 313"/>
                <a:gd name="T82" fmla="*/ 2801 w 613"/>
                <a:gd name="T83" fmla="*/ 0 h 313"/>
                <a:gd name="T84" fmla="*/ 3455 w 613"/>
                <a:gd name="T85" fmla="*/ 22 h 313"/>
                <a:gd name="T86" fmla="*/ 4145 w 613"/>
                <a:gd name="T87" fmla="*/ 128 h 313"/>
                <a:gd name="T88" fmla="*/ 4711 w 613"/>
                <a:gd name="T89" fmla="*/ 156 h 3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13"/>
                <a:gd name="T136" fmla="*/ 0 h 313"/>
                <a:gd name="T137" fmla="*/ 613 w 613"/>
                <a:gd name="T138" fmla="*/ 313 h 31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13" h="313">
                  <a:moveTo>
                    <a:pt x="613" y="114"/>
                  </a:moveTo>
                  <a:lnTo>
                    <a:pt x="611" y="125"/>
                  </a:lnTo>
                  <a:lnTo>
                    <a:pt x="602" y="130"/>
                  </a:lnTo>
                  <a:lnTo>
                    <a:pt x="594" y="132"/>
                  </a:lnTo>
                  <a:lnTo>
                    <a:pt x="602" y="155"/>
                  </a:lnTo>
                  <a:lnTo>
                    <a:pt x="594" y="162"/>
                  </a:lnTo>
                  <a:lnTo>
                    <a:pt x="561" y="162"/>
                  </a:lnTo>
                  <a:lnTo>
                    <a:pt x="557" y="194"/>
                  </a:lnTo>
                  <a:lnTo>
                    <a:pt x="563" y="199"/>
                  </a:lnTo>
                  <a:lnTo>
                    <a:pt x="557" y="205"/>
                  </a:lnTo>
                  <a:lnTo>
                    <a:pt x="548" y="203"/>
                  </a:lnTo>
                  <a:lnTo>
                    <a:pt x="525" y="214"/>
                  </a:lnTo>
                  <a:lnTo>
                    <a:pt x="531" y="214"/>
                  </a:lnTo>
                  <a:lnTo>
                    <a:pt x="546" y="248"/>
                  </a:lnTo>
                  <a:lnTo>
                    <a:pt x="542" y="274"/>
                  </a:lnTo>
                  <a:lnTo>
                    <a:pt x="531" y="274"/>
                  </a:lnTo>
                  <a:lnTo>
                    <a:pt x="531" y="268"/>
                  </a:lnTo>
                  <a:lnTo>
                    <a:pt x="462" y="259"/>
                  </a:lnTo>
                  <a:lnTo>
                    <a:pt x="462" y="255"/>
                  </a:lnTo>
                  <a:lnTo>
                    <a:pt x="443" y="253"/>
                  </a:lnTo>
                  <a:lnTo>
                    <a:pt x="399" y="274"/>
                  </a:lnTo>
                  <a:lnTo>
                    <a:pt x="378" y="291"/>
                  </a:lnTo>
                  <a:lnTo>
                    <a:pt x="365" y="291"/>
                  </a:lnTo>
                  <a:lnTo>
                    <a:pt x="363" y="300"/>
                  </a:lnTo>
                  <a:lnTo>
                    <a:pt x="354" y="313"/>
                  </a:lnTo>
                  <a:lnTo>
                    <a:pt x="343" y="302"/>
                  </a:lnTo>
                  <a:lnTo>
                    <a:pt x="354" y="300"/>
                  </a:lnTo>
                  <a:lnTo>
                    <a:pt x="320" y="294"/>
                  </a:lnTo>
                  <a:lnTo>
                    <a:pt x="304" y="287"/>
                  </a:lnTo>
                  <a:lnTo>
                    <a:pt x="309" y="274"/>
                  </a:lnTo>
                  <a:lnTo>
                    <a:pt x="294" y="274"/>
                  </a:lnTo>
                  <a:lnTo>
                    <a:pt x="294" y="263"/>
                  </a:lnTo>
                  <a:lnTo>
                    <a:pt x="285" y="259"/>
                  </a:lnTo>
                  <a:lnTo>
                    <a:pt x="250" y="259"/>
                  </a:lnTo>
                  <a:lnTo>
                    <a:pt x="229" y="248"/>
                  </a:lnTo>
                  <a:lnTo>
                    <a:pt x="218" y="244"/>
                  </a:lnTo>
                  <a:lnTo>
                    <a:pt x="218" y="235"/>
                  </a:lnTo>
                  <a:lnTo>
                    <a:pt x="225" y="224"/>
                  </a:lnTo>
                  <a:lnTo>
                    <a:pt x="225" y="212"/>
                  </a:lnTo>
                  <a:lnTo>
                    <a:pt x="229" y="194"/>
                  </a:lnTo>
                  <a:lnTo>
                    <a:pt x="225" y="190"/>
                  </a:lnTo>
                  <a:lnTo>
                    <a:pt x="220" y="194"/>
                  </a:lnTo>
                  <a:lnTo>
                    <a:pt x="190" y="205"/>
                  </a:lnTo>
                  <a:lnTo>
                    <a:pt x="168" y="209"/>
                  </a:lnTo>
                  <a:lnTo>
                    <a:pt x="160" y="224"/>
                  </a:lnTo>
                  <a:lnTo>
                    <a:pt x="160" y="253"/>
                  </a:lnTo>
                  <a:lnTo>
                    <a:pt x="160" y="274"/>
                  </a:lnTo>
                  <a:lnTo>
                    <a:pt x="160" y="300"/>
                  </a:lnTo>
                  <a:lnTo>
                    <a:pt x="140" y="294"/>
                  </a:lnTo>
                  <a:lnTo>
                    <a:pt x="132" y="287"/>
                  </a:lnTo>
                  <a:lnTo>
                    <a:pt x="117" y="285"/>
                  </a:lnTo>
                  <a:lnTo>
                    <a:pt x="108" y="298"/>
                  </a:lnTo>
                  <a:lnTo>
                    <a:pt x="117" y="309"/>
                  </a:lnTo>
                  <a:lnTo>
                    <a:pt x="108" y="298"/>
                  </a:lnTo>
                  <a:lnTo>
                    <a:pt x="108" y="283"/>
                  </a:lnTo>
                  <a:lnTo>
                    <a:pt x="108" y="274"/>
                  </a:lnTo>
                  <a:lnTo>
                    <a:pt x="99" y="274"/>
                  </a:lnTo>
                  <a:lnTo>
                    <a:pt x="89" y="274"/>
                  </a:lnTo>
                  <a:lnTo>
                    <a:pt x="76" y="248"/>
                  </a:lnTo>
                  <a:lnTo>
                    <a:pt x="69" y="242"/>
                  </a:lnTo>
                  <a:lnTo>
                    <a:pt x="76" y="242"/>
                  </a:lnTo>
                  <a:lnTo>
                    <a:pt x="86" y="242"/>
                  </a:lnTo>
                  <a:lnTo>
                    <a:pt x="76" y="233"/>
                  </a:lnTo>
                  <a:lnTo>
                    <a:pt x="84" y="227"/>
                  </a:lnTo>
                  <a:lnTo>
                    <a:pt x="115" y="224"/>
                  </a:lnTo>
                  <a:lnTo>
                    <a:pt x="104" y="218"/>
                  </a:lnTo>
                  <a:lnTo>
                    <a:pt x="104" y="190"/>
                  </a:lnTo>
                  <a:lnTo>
                    <a:pt x="89" y="194"/>
                  </a:lnTo>
                  <a:lnTo>
                    <a:pt x="84" y="188"/>
                  </a:lnTo>
                  <a:lnTo>
                    <a:pt x="69" y="190"/>
                  </a:lnTo>
                  <a:lnTo>
                    <a:pt x="61" y="194"/>
                  </a:lnTo>
                  <a:lnTo>
                    <a:pt x="50" y="203"/>
                  </a:lnTo>
                  <a:lnTo>
                    <a:pt x="35" y="203"/>
                  </a:lnTo>
                  <a:lnTo>
                    <a:pt x="15" y="149"/>
                  </a:lnTo>
                  <a:lnTo>
                    <a:pt x="0" y="149"/>
                  </a:lnTo>
                  <a:lnTo>
                    <a:pt x="20" y="95"/>
                  </a:lnTo>
                  <a:lnTo>
                    <a:pt x="52" y="88"/>
                  </a:lnTo>
                  <a:lnTo>
                    <a:pt x="89" y="99"/>
                  </a:lnTo>
                  <a:lnTo>
                    <a:pt x="190" y="110"/>
                  </a:lnTo>
                  <a:lnTo>
                    <a:pt x="179" y="82"/>
                  </a:lnTo>
                  <a:lnTo>
                    <a:pt x="190" y="22"/>
                  </a:lnTo>
                  <a:lnTo>
                    <a:pt x="257" y="9"/>
                  </a:lnTo>
                  <a:lnTo>
                    <a:pt x="304" y="11"/>
                  </a:lnTo>
                  <a:lnTo>
                    <a:pt x="348" y="0"/>
                  </a:lnTo>
                  <a:lnTo>
                    <a:pt x="380" y="28"/>
                  </a:lnTo>
                  <a:lnTo>
                    <a:pt x="427" y="22"/>
                  </a:lnTo>
                  <a:lnTo>
                    <a:pt x="481" y="54"/>
                  </a:lnTo>
                  <a:lnTo>
                    <a:pt x="514" y="88"/>
                  </a:lnTo>
                  <a:lnTo>
                    <a:pt x="557" y="95"/>
                  </a:lnTo>
                  <a:lnTo>
                    <a:pt x="585" y="108"/>
                  </a:lnTo>
                  <a:lnTo>
                    <a:pt x="613" y="114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59" name="Freeform 153"/>
            <p:cNvSpPr>
              <a:spLocks noChangeAspect="1"/>
            </p:cNvSpPr>
            <p:nvPr/>
          </p:nvSpPr>
          <p:spPr bwMode="auto">
            <a:xfrm>
              <a:off x="3808" y="1892"/>
              <a:ext cx="171" cy="83"/>
            </a:xfrm>
            <a:custGeom>
              <a:avLst/>
              <a:gdLst>
                <a:gd name="T0" fmla="*/ 1297 w 155"/>
                <a:gd name="T1" fmla="*/ 21 h 82"/>
                <a:gd name="T2" fmla="*/ 1081 w 155"/>
                <a:gd name="T3" fmla="*/ 36 h 82"/>
                <a:gd name="T4" fmla="*/ 1038 w 155"/>
                <a:gd name="T5" fmla="*/ 65 h 82"/>
                <a:gd name="T6" fmla="*/ 886 w 155"/>
                <a:gd name="T7" fmla="*/ 67 h 82"/>
                <a:gd name="T8" fmla="*/ 857 w 155"/>
                <a:gd name="T9" fmla="*/ 76 h 82"/>
                <a:gd name="T10" fmla="*/ 757 w 155"/>
                <a:gd name="T11" fmla="*/ 80 h 82"/>
                <a:gd name="T12" fmla="*/ 718 w 155"/>
                <a:gd name="T13" fmla="*/ 76 h 82"/>
                <a:gd name="T14" fmla="*/ 635 w 155"/>
                <a:gd name="T15" fmla="*/ 80 h 82"/>
                <a:gd name="T16" fmla="*/ 520 w 155"/>
                <a:gd name="T17" fmla="*/ 91 h 82"/>
                <a:gd name="T18" fmla="*/ 535 w 155"/>
                <a:gd name="T19" fmla="*/ 102 h 82"/>
                <a:gd name="T20" fmla="*/ 485 w 155"/>
                <a:gd name="T21" fmla="*/ 102 h 82"/>
                <a:gd name="T22" fmla="*/ 68 w 155"/>
                <a:gd name="T23" fmla="*/ 86 h 82"/>
                <a:gd name="T24" fmla="*/ 195 w 155"/>
                <a:gd name="T25" fmla="*/ 86 h 82"/>
                <a:gd name="T26" fmla="*/ 237 w 155"/>
                <a:gd name="T27" fmla="*/ 80 h 82"/>
                <a:gd name="T28" fmla="*/ 362 w 155"/>
                <a:gd name="T29" fmla="*/ 67 h 82"/>
                <a:gd name="T30" fmla="*/ 288 w 155"/>
                <a:gd name="T31" fmla="*/ 67 h 82"/>
                <a:gd name="T32" fmla="*/ 122 w 155"/>
                <a:gd name="T33" fmla="*/ 38 h 82"/>
                <a:gd name="T34" fmla="*/ 0 w 155"/>
                <a:gd name="T35" fmla="*/ 38 h 82"/>
                <a:gd name="T36" fmla="*/ 68 w 155"/>
                <a:gd name="T37" fmla="*/ 21 h 82"/>
                <a:gd name="T38" fmla="*/ 460 w 155"/>
                <a:gd name="T39" fmla="*/ 0 h 82"/>
                <a:gd name="T40" fmla="*/ 623 w 155"/>
                <a:gd name="T41" fmla="*/ 2 h 82"/>
                <a:gd name="T42" fmla="*/ 623 w 155"/>
                <a:gd name="T43" fmla="*/ 6 h 82"/>
                <a:gd name="T44" fmla="*/ 1194 w 155"/>
                <a:gd name="T45" fmla="*/ 15 h 82"/>
                <a:gd name="T46" fmla="*/ 1194 w 155"/>
                <a:gd name="T47" fmla="*/ 21 h 82"/>
                <a:gd name="T48" fmla="*/ 1297 w 155"/>
                <a:gd name="T49" fmla="*/ 21 h 8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55"/>
                <a:gd name="T76" fmla="*/ 0 h 82"/>
                <a:gd name="T77" fmla="*/ 155 w 155"/>
                <a:gd name="T78" fmla="*/ 82 h 8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55" h="82">
                  <a:moveTo>
                    <a:pt x="155" y="21"/>
                  </a:moveTo>
                  <a:lnTo>
                    <a:pt x="129" y="36"/>
                  </a:lnTo>
                  <a:lnTo>
                    <a:pt x="125" y="45"/>
                  </a:lnTo>
                  <a:lnTo>
                    <a:pt x="105" y="47"/>
                  </a:lnTo>
                  <a:lnTo>
                    <a:pt x="103" y="56"/>
                  </a:lnTo>
                  <a:lnTo>
                    <a:pt x="90" y="60"/>
                  </a:lnTo>
                  <a:lnTo>
                    <a:pt x="86" y="56"/>
                  </a:lnTo>
                  <a:lnTo>
                    <a:pt x="77" y="60"/>
                  </a:lnTo>
                  <a:lnTo>
                    <a:pt x="62" y="71"/>
                  </a:lnTo>
                  <a:lnTo>
                    <a:pt x="64" y="82"/>
                  </a:lnTo>
                  <a:lnTo>
                    <a:pt x="58" y="82"/>
                  </a:lnTo>
                  <a:lnTo>
                    <a:pt x="8" y="66"/>
                  </a:lnTo>
                  <a:lnTo>
                    <a:pt x="23" y="66"/>
                  </a:lnTo>
                  <a:lnTo>
                    <a:pt x="28" y="60"/>
                  </a:lnTo>
                  <a:lnTo>
                    <a:pt x="43" y="47"/>
                  </a:lnTo>
                  <a:lnTo>
                    <a:pt x="34" y="47"/>
                  </a:lnTo>
                  <a:lnTo>
                    <a:pt x="15" y="38"/>
                  </a:lnTo>
                  <a:lnTo>
                    <a:pt x="0" y="38"/>
                  </a:lnTo>
                  <a:lnTo>
                    <a:pt x="8" y="21"/>
                  </a:lnTo>
                  <a:lnTo>
                    <a:pt x="54" y="0"/>
                  </a:lnTo>
                  <a:lnTo>
                    <a:pt x="75" y="2"/>
                  </a:lnTo>
                  <a:lnTo>
                    <a:pt x="75" y="6"/>
                  </a:lnTo>
                  <a:lnTo>
                    <a:pt x="144" y="15"/>
                  </a:lnTo>
                  <a:lnTo>
                    <a:pt x="144" y="21"/>
                  </a:lnTo>
                  <a:lnTo>
                    <a:pt x="155" y="2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0" name="Freeform 154"/>
            <p:cNvSpPr>
              <a:spLocks noChangeAspect="1"/>
            </p:cNvSpPr>
            <p:nvPr/>
          </p:nvSpPr>
          <p:spPr bwMode="auto">
            <a:xfrm>
              <a:off x="3555" y="1843"/>
              <a:ext cx="303" cy="182"/>
            </a:xfrm>
            <a:custGeom>
              <a:avLst/>
              <a:gdLst>
                <a:gd name="T0" fmla="*/ 1481 w 274"/>
                <a:gd name="T1" fmla="*/ 243 h 179"/>
                <a:gd name="T2" fmla="*/ 1481 w 274"/>
                <a:gd name="T3" fmla="*/ 223 h 179"/>
                <a:gd name="T4" fmla="*/ 1033 w 274"/>
                <a:gd name="T5" fmla="*/ 175 h 179"/>
                <a:gd name="T6" fmla="*/ 905 w 274"/>
                <a:gd name="T7" fmla="*/ 163 h 179"/>
                <a:gd name="T8" fmla="*/ 740 w 274"/>
                <a:gd name="T9" fmla="*/ 144 h 179"/>
                <a:gd name="T10" fmla="*/ 638 w 274"/>
                <a:gd name="T11" fmla="*/ 122 h 179"/>
                <a:gd name="T12" fmla="*/ 462 w 274"/>
                <a:gd name="T13" fmla="*/ 106 h 179"/>
                <a:gd name="T14" fmla="*/ 323 w 274"/>
                <a:gd name="T15" fmla="*/ 83 h 179"/>
                <a:gd name="T16" fmla="*/ 303 w 274"/>
                <a:gd name="T17" fmla="*/ 63 h 179"/>
                <a:gd name="T18" fmla="*/ 188 w 274"/>
                <a:gd name="T19" fmla="*/ 83 h 179"/>
                <a:gd name="T20" fmla="*/ 69 w 274"/>
                <a:gd name="T21" fmla="*/ 133 h 179"/>
                <a:gd name="T22" fmla="*/ 0 w 274"/>
                <a:gd name="T23" fmla="*/ 92 h 179"/>
                <a:gd name="T24" fmla="*/ 0 w 274"/>
                <a:gd name="T25" fmla="*/ 19 h 179"/>
                <a:gd name="T26" fmla="*/ 274 w 274"/>
                <a:gd name="T27" fmla="*/ 0 h 179"/>
                <a:gd name="T28" fmla="*/ 303 w 274"/>
                <a:gd name="T29" fmla="*/ 59 h 179"/>
                <a:gd name="T30" fmla="*/ 422 w 274"/>
                <a:gd name="T31" fmla="*/ 63 h 179"/>
                <a:gd name="T32" fmla="*/ 626 w 274"/>
                <a:gd name="T33" fmla="*/ 63 h 179"/>
                <a:gd name="T34" fmla="*/ 1090 w 274"/>
                <a:gd name="T35" fmla="*/ 74 h 179"/>
                <a:gd name="T36" fmla="*/ 1198 w 274"/>
                <a:gd name="T37" fmla="*/ 92 h 179"/>
                <a:gd name="T38" fmla="*/ 1266 w 274"/>
                <a:gd name="T39" fmla="*/ 118 h 179"/>
                <a:gd name="T40" fmla="*/ 1709 w 274"/>
                <a:gd name="T41" fmla="*/ 135 h 179"/>
                <a:gd name="T42" fmla="*/ 1713 w 274"/>
                <a:gd name="T43" fmla="*/ 148 h 179"/>
                <a:gd name="T44" fmla="*/ 1803 w 274"/>
                <a:gd name="T45" fmla="*/ 122 h 179"/>
                <a:gd name="T46" fmla="*/ 2094 w 274"/>
                <a:gd name="T47" fmla="*/ 92 h 179"/>
                <a:gd name="T48" fmla="*/ 2162 w 274"/>
                <a:gd name="T49" fmla="*/ 122 h 179"/>
                <a:gd name="T50" fmla="*/ 2405 w 274"/>
                <a:gd name="T51" fmla="*/ 135 h 179"/>
                <a:gd name="T52" fmla="*/ 2214 w 274"/>
                <a:gd name="T53" fmla="*/ 156 h 179"/>
                <a:gd name="T54" fmla="*/ 2094 w 274"/>
                <a:gd name="T55" fmla="*/ 144 h 179"/>
                <a:gd name="T56" fmla="*/ 2059 w 274"/>
                <a:gd name="T57" fmla="*/ 133 h 179"/>
                <a:gd name="T58" fmla="*/ 1919 w 274"/>
                <a:gd name="T59" fmla="*/ 169 h 179"/>
                <a:gd name="T60" fmla="*/ 1669 w 274"/>
                <a:gd name="T61" fmla="*/ 180 h 179"/>
                <a:gd name="T62" fmla="*/ 1713 w 274"/>
                <a:gd name="T63" fmla="*/ 192 h 179"/>
                <a:gd name="T64" fmla="*/ 1709 w 274"/>
                <a:gd name="T65" fmla="*/ 223 h 17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4"/>
                <a:gd name="T100" fmla="*/ 0 h 179"/>
                <a:gd name="T101" fmla="*/ 274 w 274"/>
                <a:gd name="T102" fmla="*/ 179 h 17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4" h="179">
                  <a:moveTo>
                    <a:pt x="183" y="179"/>
                  </a:moveTo>
                  <a:lnTo>
                    <a:pt x="170" y="175"/>
                  </a:lnTo>
                  <a:lnTo>
                    <a:pt x="175" y="168"/>
                  </a:lnTo>
                  <a:lnTo>
                    <a:pt x="170" y="160"/>
                  </a:lnTo>
                  <a:lnTo>
                    <a:pt x="160" y="160"/>
                  </a:lnTo>
                  <a:lnTo>
                    <a:pt x="116" y="127"/>
                  </a:lnTo>
                  <a:lnTo>
                    <a:pt x="110" y="130"/>
                  </a:lnTo>
                  <a:lnTo>
                    <a:pt x="103" y="119"/>
                  </a:lnTo>
                  <a:lnTo>
                    <a:pt x="90" y="104"/>
                  </a:lnTo>
                  <a:lnTo>
                    <a:pt x="84" y="104"/>
                  </a:lnTo>
                  <a:lnTo>
                    <a:pt x="75" y="104"/>
                  </a:lnTo>
                  <a:lnTo>
                    <a:pt x="73" y="86"/>
                  </a:lnTo>
                  <a:lnTo>
                    <a:pt x="69" y="84"/>
                  </a:lnTo>
                  <a:lnTo>
                    <a:pt x="52" y="78"/>
                  </a:lnTo>
                  <a:lnTo>
                    <a:pt x="49" y="63"/>
                  </a:lnTo>
                  <a:lnTo>
                    <a:pt x="37" y="63"/>
                  </a:lnTo>
                  <a:lnTo>
                    <a:pt x="34" y="54"/>
                  </a:lnTo>
                  <a:lnTo>
                    <a:pt x="34" y="43"/>
                  </a:lnTo>
                  <a:lnTo>
                    <a:pt x="24" y="54"/>
                  </a:lnTo>
                  <a:lnTo>
                    <a:pt x="21" y="63"/>
                  </a:lnTo>
                  <a:lnTo>
                    <a:pt x="28" y="89"/>
                  </a:lnTo>
                  <a:lnTo>
                    <a:pt x="8" y="93"/>
                  </a:lnTo>
                  <a:lnTo>
                    <a:pt x="0" y="95"/>
                  </a:lnTo>
                  <a:lnTo>
                    <a:pt x="0" y="71"/>
                  </a:lnTo>
                  <a:lnTo>
                    <a:pt x="0" y="48"/>
                  </a:lnTo>
                  <a:lnTo>
                    <a:pt x="0" y="19"/>
                  </a:lnTo>
                  <a:lnTo>
                    <a:pt x="8" y="4"/>
                  </a:lnTo>
                  <a:lnTo>
                    <a:pt x="30" y="0"/>
                  </a:lnTo>
                  <a:lnTo>
                    <a:pt x="24" y="39"/>
                  </a:lnTo>
                  <a:lnTo>
                    <a:pt x="34" y="39"/>
                  </a:lnTo>
                  <a:lnTo>
                    <a:pt x="39" y="43"/>
                  </a:lnTo>
                  <a:lnTo>
                    <a:pt x="49" y="43"/>
                  </a:lnTo>
                  <a:lnTo>
                    <a:pt x="58" y="39"/>
                  </a:lnTo>
                  <a:lnTo>
                    <a:pt x="71" y="43"/>
                  </a:lnTo>
                  <a:lnTo>
                    <a:pt x="90" y="54"/>
                  </a:lnTo>
                  <a:lnTo>
                    <a:pt x="125" y="54"/>
                  </a:lnTo>
                  <a:lnTo>
                    <a:pt x="136" y="58"/>
                  </a:lnTo>
                  <a:lnTo>
                    <a:pt x="136" y="71"/>
                  </a:lnTo>
                  <a:lnTo>
                    <a:pt x="151" y="71"/>
                  </a:lnTo>
                  <a:lnTo>
                    <a:pt x="144" y="84"/>
                  </a:lnTo>
                  <a:lnTo>
                    <a:pt x="160" y="89"/>
                  </a:lnTo>
                  <a:lnTo>
                    <a:pt x="194" y="95"/>
                  </a:lnTo>
                  <a:lnTo>
                    <a:pt x="183" y="99"/>
                  </a:lnTo>
                  <a:lnTo>
                    <a:pt x="196" y="108"/>
                  </a:lnTo>
                  <a:lnTo>
                    <a:pt x="203" y="95"/>
                  </a:lnTo>
                  <a:lnTo>
                    <a:pt x="205" y="86"/>
                  </a:lnTo>
                  <a:lnTo>
                    <a:pt x="218" y="86"/>
                  </a:lnTo>
                  <a:lnTo>
                    <a:pt x="239" y="71"/>
                  </a:lnTo>
                  <a:lnTo>
                    <a:pt x="231" y="86"/>
                  </a:lnTo>
                  <a:lnTo>
                    <a:pt x="246" y="86"/>
                  </a:lnTo>
                  <a:lnTo>
                    <a:pt x="263" y="95"/>
                  </a:lnTo>
                  <a:lnTo>
                    <a:pt x="274" y="95"/>
                  </a:lnTo>
                  <a:lnTo>
                    <a:pt x="259" y="108"/>
                  </a:lnTo>
                  <a:lnTo>
                    <a:pt x="252" y="114"/>
                  </a:lnTo>
                  <a:lnTo>
                    <a:pt x="239" y="114"/>
                  </a:lnTo>
                  <a:lnTo>
                    <a:pt x="239" y="104"/>
                  </a:lnTo>
                  <a:lnTo>
                    <a:pt x="246" y="99"/>
                  </a:lnTo>
                  <a:lnTo>
                    <a:pt x="235" y="93"/>
                  </a:lnTo>
                  <a:lnTo>
                    <a:pt x="224" y="95"/>
                  </a:lnTo>
                  <a:lnTo>
                    <a:pt x="218" y="123"/>
                  </a:lnTo>
                  <a:lnTo>
                    <a:pt x="205" y="123"/>
                  </a:lnTo>
                  <a:lnTo>
                    <a:pt x="190" y="130"/>
                  </a:lnTo>
                  <a:lnTo>
                    <a:pt x="190" y="136"/>
                  </a:lnTo>
                  <a:lnTo>
                    <a:pt x="196" y="138"/>
                  </a:lnTo>
                  <a:lnTo>
                    <a:pt x="205" y="138"/>
                  </a:lnTo>
                  <a:lnTo>
                    <a:pt x="194" y="160"/>
                  </a:lnTo>
                  <a:lnTo>
                    <a:pt x="183" y="17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1" name="Freeform 155"/>
            <p:cNvSpPr>
              <a:spLocks noChangeAspect="1"/>
            </p:cNvSpPr>
            <p:nvPr/>
          </p:nvSpPr>
          <p:spPr bwMode="auto">
            <a:xfrm>
              <a:off x="3758" y="1937"/>
              <a:ext cx="149" cy="97"/>
            </a:xfrm>
            <a:custGeom>
              <a:avLst/>
              <a:gdLst>
                <a:gd name="T0" fmla="*/ 777 w 136"/>
                <a:gd name="T1" fmla="*/ 57 h 95"/>
                <a:gd name="T2" fmla="*/ 794 w 136"/>
                <a:gd name="T3" fmla="*/ 72 h 95"/>
                <a:gd name="T4" fmla="*/ 851 w 136"/>
                <a:gd name="T5" fmla="*/ 72 h 95"/>
                <a:gd name="T6" fmla="*/ 906 w 136"/>
                <a:gd name="T7" fmla="*/ 80 h 95"/>
                <a:gd name="T8" fmla="*/ 992 w 136"/>
                <a:gd name="T9" fmla="*/ 115 h 95"/>
                <a:gd name="T10" fmla="*/ 944 w 136"/>
                <a:gd name="T11" fmla="*/ 123 h 95"/>
                <a:gd name="T12" fmla="*/ 906 w 136"/>
                <a:gd name="T13" fmla="*/ 120 h 95"/>
                <a:gd name="T14" fmla="*/ 889 w 136"/>
                <a:gd name="T15" fmla="*/ 120 h 95"/>
                <a:gd name="T16" fmla="*/ 794 w 136"/>
                <a:gd name="T17" fmla="*/ 115 h 95"/>
                <a:gd name="T18" fmla="*/ 721 w 136"/>
                <a:gd name="T19" fmla="*/ 123 h 95"/>
                <a:gd name="T20" fmla="*/ 655 w 136"/>
                <a:gd name="T21" fmla="*/ 132 h 95"/>
                <a:gd name="T22" fmla="*/ 578 w 136"/>
                <a:gd name="T23" fmla="*/ 143 h 95"/>
                <a:gd name="T24" fmla="*/ 549 w 136"/>
                <a:gd name="T25" fmla="*/ 102 h 95"/>
                <a:gd name="T26" fmla="*/ 524 w 136"/>
                <a:gd name="T27" fmla="*/ 98 h 95"/>
                <a:gd name="T28" fmla="*/ 440 w 136"/>
                <a:gd name="T29" fmla="*/ 80 h 95"/>
                <a:gd name="T30" fmla="*/ 411 w 136"/>
                <a:gd name="T31" fmla="*/ 106 h 95"/>
                <a:gd name="T32" fmla="*/ 436 w 136"/>
                <a:gd name="T33" fmla="*/ 113 h 95"/>
                <a:gd name="T34" fmla="*/ 312 w 136"/>
                <a:gd name="T35" fmla="*/ 120 h 95"/>
                <a:gd name="T36" fmla="*/ 303 w 136"/>
                <a:gd name="T37" fmla="*/ 126 h 95"/>
                <a:gd name="T38" fmla="*/ 261 w 136"/>
                <a:gd name="T39" fmla="*/ 123 h 95"/>
                <a:gd name="T40" fmla="*/ 162 w 136"/>
                <a:gd name="T41" fmla="*/ 137 h 95"/>
                <a:gd name="T42" fmla="*/ 0 w 136"/>
                <a:gd name="T43" fmla="*/ 126 h 95"/>
                <a:gd name="T44" fmla="*/ 78 w 136"/>
                <a:gd name="T45" fmla="*/ 102 h 95"/>
                <a:gd name="T46" fmla="*/ 162 w 136"/>
                <a:gd name="T47" fmla="*/ 65 h 95"/>
                <a:gd name="T48" fmla="*/ 78 w 136"/>
                <a:gd name="T49" fmla="*/ 65 h 95"/>
                <a:gd name="T50" fmla="*/ 54 w 136"/>
                <a:gd name="T51" fmla="*/ 61 h 95"/>
                <a:gd name="T52" fmla="*/ 54 w 136"/>
                <a:gd name="T53" fmla="*/ 57 h 95"/>
                <a:gd name="T54" fmla="*/ 162 w 136"/>
                <a:gd name="T55" fmla="*/ 50 h 95"/>
                <a:gd name="T56" fmla="*/ 255 w 136"/>
                <a:gd name="T57" fmla="*/ 50 h 95"/>
                <a:gd name="T58" fmla="*/ 303 w 136"/>
                <a:gd name="T59" fmla="*/ 2 h 95"/>
                <a:gd name="T60" fmla="*/ 376 w 136"/>
                <a:gd name="T61" fmla="*/ 0 h 95"/>
                <a:gd name="T62" fmla="*/ 440 w 136"/>
                <a:gd name="T63" fmla="*/ 6 h 95"/>
                <a:gd name="T64" fmla="*/ 411 w 136"/>
                <a:gd name="T65" fmla="*/ 11 h 95"/>
                <a:gd name="T66" fmla="*/ 411 w 136"/>
                <a:gd name="T67" fmla="*/ 21 h 95"/>
                <a:gd name="T68" fmla="*/ 777 w 136"/>
                <a:gd name="T69" fmla="*/ 57 h 9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36"/>
                <a:gd name="T106" fmla="*/ 0 h 95"/>
                <a:gd name="T107" fmla="*/ 136 w 136"/>
                <a:gd name="T108" fmla="*/ 95 h 9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36" h="95">
                  <a:moveTo>
                    <a:pt x="106" y="37"/>
                  </a:moveTo>
                  <a:lnTo>
                    <a:pt x="110" y="52"/>
                  </a:lnTo>
                  <a:lnTo>
                    <a:pt x="117" y="52"/>
                  </a:lnTo>
                  <a:lnTo>
                    <a:pt x="125" y="56"/>
                  </a:lnTo>
                  <a:lnTo>
                    <a:pt x="136" y="75"/>
                  </a:lnTo>
                  <a:lnTo>
                    <a:pt x="130" y="82"/>
                  </a:lnTo>
                  <a:lnTo>
                    <a:pt x="125" y="80"/>
                  </a:lnTo>
                  <a:lnTo>
                    <a:pt x="121" y="80"/>
                  </a:lnTo>
                  <a:lnTo>
                    <a:pt x="110" y="75"/>
                  </a:lnTo>
                  <a:lnTo>
                    <a:pt x="100" y="82"/>
                  </a:lnTo>
                  <a:lnTo>
                    <a:pt x="91" y="88"/>
                  </a:lnTo>
                  <a:lnTo>
                    <a:pt x="80" y="95"/>
                  </a:lnTo>
                  <a:lnTo>
                    <a:pt x="76" y="67"/>
                  </a:lnTo>
                  <a:lnTo>
                    <a:pt x="71" y="65"/>
                  </a:lnTo>
                  <a:lnTo>
                    <a:pt x="61" y="56"/>
                  </a:lnTo>
                  <a:lnTo>
                    <a:pt x="56" y="69"/>
                  </a:lnTo>
                  <a:lnTo>
                    <a:pt x="59" y="73"/>
                  </a:lnTo>
                  <a:lnTo>
                    <a:pt x="43" y="80"/>
                  </a:lnTo>
                  <a:lnTo>
                    <a:pt x="41" y="84"/>
                  </a:lnTo>
                  <a:lnTo>
                    <a:pt x="37" y="82"/>
                  </a:lnTo>
                  <a:lnTo>
                    <a:pt x="22" y="91"/>
                  </a:lnTo>
                  <a:lnTo>
                    <a:pt x="0" y="84"/>
                  </a:lnTo>
                  <a:lnTo>
                    <a:pt x="11" y="67"/>
                  </a:lnTo>
                  <a:lnTo>
                    <a:pt x="22" y="45"/>
                  </a:lnTo>
                  <a:lnTo>
                    <a:pt x="11" y="45"/>
                  </a:lnTo>
                  <a:lnTo>
                    <a:pt x="7" y="41"/>
                  </a:lnTo>
                  <a:lnTo>
                    <a:pt x="7" y="37"/>
                  </a:lnTo>
                  <a:lnTo>
                    <a:pt x="22" y="30"/>
                  </a:lnTo>
                  <a:lnTo>
                    <a:pt x="35" y="30"/>
                  </a:lnTo>
                  <a:lnTo>
                    <a:pt x="41" y="2"/>
                  </a:lnTo>
                  <a:lnTo>
                    <a:pt x="52" y="0"/>
                  </a:lnTo>
                  <a:lnTo>
                    <a:pt x="61" y="6"/>
                  </a:lnTo>
                  <a:lnTo>
                    <a:pt x="56" y="11"/>
                  </a:lnTo>
                  <a:lnTo>
                    <a:pt x="56" y="21"/>
                  </a:lnTo>
                  <a:lnTo>
                    <a:pt x="106" y="3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2" name="Freeform 156"/>
            <p:cNvSpPr>
              <a:spLocks noChangeAspect="1"/>
            </p:cNvSpPr>
            <p:nvPr/>
          </p:nvSpPr>
          <p:spPr bwMode="auto">
            <a:xfrm>
              <a:off x="3499" y="1887"/>
              <a:ext cx="250" cy="182"/>
            </a:xfrm>
            <a:custGeom>
              <a:avLst/>
              <a:gdLst>
                <a:gd name="T0" fmla="*/ 564 w 227"/>
                <a:gd name="T1" fmla="*/ 20 h 179"/>
                <a:gd name="T2" fmla="*/ 619 w 227"/>
                <a:gd name="T3" fmla="*/ 11 h 179"/>
                <a:gd name="T4" fmla="*/ 692 w 227"/>
                <a:gd name="T5" fmla="*/ 0 h 179"/>
                <a:gd name="T6" fmla="*/ 692 w 227"/>
                <a:gd name="T7" fmla="*/ 11 h 179"/>
                <a:gd name="T8" fmla="*/ 722 w 227"/>
                <a:gd name="T9" fmla="*/ 20 h 179"/>
                <a:gd name="T10" fmla="*/ 809 w 227"/>
                <a:gd name="T11" fmla="*/ 20 h 179"/>
                <a:gd name="T12" fmla="*/ 839 w 227"/>
                <a:gd name="T13" fmla="*/ 55 h 179"/>
                <a:gd name="T14" fmla="*/ 1006 w 227"/>
                <a:gd name="T15" fmla="*/ 63 h 179"/>
                <a:gd name="T16" fmla="*/ 1032 w 227"/>
                <a:gd name="T17" fmla="*/ 81 h 179"/>
                <a:gd name="T18" fmla="*/ 1105 w 227"/>
                <a:gd name="T19" fmla="*/ 81 h 179"/>
                <a:gd name="T20" fmla="*/ 1159 w 227"/>
                <a:gd name="T21" fmla="*/ 79 h 179"/>
                <a:gd name="T22" fmla="*/ 1252 w 227"/>
                <a:gd name="T23" fmla="*/ 98 h 179"/>
                <a:gd name="T24" fmla="*/ 1309 w 227"/>
                <a:gd name="T25" fmla="*/ 118 h 179"/>
                <a:gd name="T26" fmla="*/ 1344 w 227"/>
                <a:gd name="T27" fmla="*/ 118 h 179"/>
                <a:gd name="T28" fmla="*/ 1627 w 227"/>
                <a:gd name="T29" fmla="*/ 146 h 179"/>
                <a:gd name="T30" fmla="*/ 1719 w 227"/>
                <a:gd name="T31" fmla="*/ 160 h 179"/>
                <a:gd name="T32" fmla="*/ 1795 w 227"/>
                <a:gd name="T33" fmla="*/ 160 h 179"/>
                <a:gd name="T34" fmla="*/ 1843 w 227"/>
                <a:gd name="T35" fmla="*/ 169 h 179"/>
                <a:gd name="T36" fmla="*/ 1795 w 227"/>
                <a:gd name="T37" fmla="*/ 183 h 179"/>
                <a:gd name="T38" fmla="*/ 1719 w 227"/>
                <a:gd name="T39" fmla="*/ 189 h 179"/>
                <a:gd name="T40" fmla="*/ 1719 w 227"/>
                <a:gd name="T41" fmla="*/ 211 h 179"/>
                <a:gd name="T42" fmla="*/ 1512 w 227"/>
                <a:gd name="T43" fmla="*/ 229 h 179"/>
                <a:gd name="T44" fmla="*/ 1534 w 227"/>
                <a:gd name="T45" fmla="*/ 231 h 179"/>
                <a:gd name="T46" fmla="*/ 1421 w 227"/>
                <a:gd name="T47" fmla="*/ 249 h 179"/>
                <a:gd name="T48" fmla="*/ 1421 w 227"/>
                <a:gd name="T49" fmla="*/ 238 h 179"/>
                <a:gd name="T50" fmla="*/ 1252 w 227"/>
                <a:gd name="T51" fmla="*/ 231 h 179"/>
                <a:gd name="T52" fmla="*/ 1235 w 227"/>
                <a:gd name="T53" fmla="*/ 205 h 179"/>
                <a:gd name="T54" fmla="*/ 911 w 227"/>
                <a:gd name="T55" fmla="*/ 180 h 179"/>
                <a:gd name="T56" fmla="*/ 735 w 227"/>
                <a:gd name="T57" fmla="*/ 169 h 179"/>
                <a:gd name="T58" fmla="*/ 722 w 227"/>
                <a:gd name="T59" fmla="*/ 160 h 179"/>
                <a:gd name="T60" fmla="*/ 564 w 227"/>
                <a:gd name="T61" fmla="*/ 163 h 179"/>
                <a:gd name="T62" fmla="*/ 491 w 227"/>
                <a:gd name="T63" fmla="*/ 163 h 179"/>
                <a:gd name="T64" fmla="*/ 420 w 227"/>
                <a:gd name="T65" fmla="*/ 189 h 179"/>
                <a:gd name="T66" fmla="*/ 292 w 227"/>
                <a:gd name="T67" fmla="*/ 192 h 179"/>
                <a:gd name="T68" fmla="*/ 261 w 227"/>
                <a:gd name="T69" fmla="*/ 146 h 179"/>
                <a:gd name="T70" fmla="*/ 135 w 227"/>
                <a:gd name="T71" fmla="*/ 140 h 179"/>
                <a:gd name="T72" fmla="*/ 135 w 227"/>
                <a:gd name="T73" fmla="*/ 131 h 179"/>
                <a:gd name="T74" fmla="*/ 206 w 227"/>
                <a:gd name="T75" fmla="*/ 131 h 179"/>
                <a:gd name="T76" fmla="*/ 181 w 227"/>
                <a:gd name="T77" fmla="*/ 124 h 179"/>
                <a:gd name="T78" fmla="*/ 89 w 227"/>
                <a:gd name="T79" fmla="*/ 128 h 179"/>
                <a:gd name="T80" fmla="*/ 74 w 227"/>
                <a:gd name="T81" fmla="*/ 87 h 179"/>
                <a:gd name="T82" fmla="*/ 89 w 227"/>
                <a:gd name="T83" fmla="*/ 87 h 179"/>
                <a:gd name="T84" fmla="*/ 181 w 227"/>
                <a:gd name="T85" fmla="*/ 87 h 179"/>
                <a:gd name="T86" fmla="*/ 261 w 227"/>
                <a:gd name="T87" fmla="*/ 92 h 179"/>
                <a:gd name="T88" fmla="*/ 292 w 227"/>
                <a:gd name="T89" fmla="*/ 87 h 179"/>
                <a:gd name="T90" fmla="*/ 292 w 227"/>
                <a:gd name="T91" fmla="*/ 81 h 179"/>
                <a:gd name="T92" fmla="*/ 206 w 227"/>
                <a:gd name="T93" fmla="*/ 76 h 179"/>
                <a:gd name="T94" fmla="*/ 181 w 227"/>
                <a:gd name="T95" fmla="*/ 63 h 179"/>
                <a:gd name="T96" fmla="*/ 89 w 227"/>
                <a:gd name="T97" fmla="*/ 61 h 179"/>
                <a:gd name="T98" fmla="*/ 61 w 227"/>
                <a:gd name="T99" fmla="*/ 70 h 179"/>
                <a:gd name="T100" fmla="*/ 74 w 227"/>
                <a:gd name="T101" fmla="*/ 81 h 179"/>
                <a:gd name="T102" fmla="*/ 0 w 227"/>
                <a:gd name="T103" fmla="*/ 70 h 179"/>
                <a:gd name="T104" fmla="*/ 74 w 227"/>
                <a:gd name="T105" fmla="*/ 57 h 179"/>
                <a:gd name="T106" fmla="*/ 193 w 227"/>
                <a:gd name="T107" fmla="*/ 61 h 179"/>
                <a:gd name="T108" fmla="*/ 261 w 227"/>
                <a:gd name="T109" fmla="*/ 66 h 179"/>
                <a:gd name="T110" fmla="*/ 420 w 227"/>
                <a:gd name="T111" fmla="*/ 72 h 179"/>
                <a:gd name="T112" fmla="*/ 491 w 227"/>
                <a:gd name="T113" fmla="*/ 70 h 179"/>
                <a:gd name="T114" fmla="*/ 656 w 227"/>
                <a:gd name="T115" fmla="*/ 66 h 179"/>
                <a:gd name="T116" fmla="*/ 564 w 227"/>
                <a:gd name="T117" fmla="*/ 20 h 1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27"/>
                <a:gd name="T178" fmla="*/ 0 h 179"/>
                <a:gd name="T179" fmla="*/ 227 w 227"/>
                <a:gd name="T180" fmla="*/ 179 h 1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27" h="179">
                  <a:moveTo>
                    <a:pt x="71" y="20"/>
                  </a:moveTo>
                  <a:lnTo>
                    <a:pt x="76" y="11"/>
                  </a:lnTo>
                  <a:lnTo>
                    <a:pt x="86" y="0"/>
                  </a:lnTo>
                  <a:lnTo>
                    <a:pt x="86" y="11"/>
                  </a:lnTo>
                  <a:lnTo>
                    <a:pt x="89" y="20"/>
                  </a:lnTo>
                  <a:lnTo>
                    <a:pt x="101" y="20"/>
                  </a:lnTo>
                  <a:lnTo>
                    <a:pt x="104" y="35"/>
                  </a:lnTo>
                  <a:lnTo>
                    <a:pt x="125" y="43"/>
                  </a:lnTo>
                  <a:lnTo>
                    <a:pt x="127" y="61"/>
                  </a:lnTo>
                  <a:lnTo>
                    <a:pt x="136" y="61"/>
                  </a:lnTo>
                  <a:lnTo>
                    <a:pt x="142" y="59"/>
                  </a:lnTo>
                  <a:lnTo>
                    <a:pt x="155" y="74"/>
                  </a:lnTo>
                  <a:lnTo>
                    <a:pt x="162" y="84"/>
                  </a:lnTo>
                  <a:lnTo>
                    <a:pt x="166" y="84"/>
                  </a:lnTo>
                  <a:lnTo>
                    <a:pt x="201" y="106"/>
                  </a:lnTo>
                  <a:lnTo>
                    <a:pt x="212" y="117"/>
                  </a:lnTo>
                  <a:lnTo>
                    <a:pt x="222" y="117"/>
                  </a:lnTo>
                  <a:lnTo>
                    <a:pt x="227" y="123"/>
                  </a:lnTo>
                  <a:lnTo>
                    <a:pt x="222" y="132"/>
                  </a:lnTo>
                  <a:lnTo>
                    <a:pt x="212" y="136"/>
                  </a:lnTo>
                  <a:lnTo>
                    <a:pt x="212" y="151"/>
                  </a:lnTo>
                  <a:lnTo>
                    <a:pt x="186" y="164"/>
                  </a:lnTo>
                  <a:lnTo>
                    <a:pt x="190" y="166"/>
                  </a:lnTo>
                  <a:lnTo>
                    <a:pt x="175" y="179"/>
                  </a:lnTo>
                  <a:lnTo>
                    <a:pt x="175" y="171"/>
                  </a:lnTo>
                  <a:lnTo>
                    <a:pt x="155" y="166"/>
                  </a:lnTo>
                  <a:lnTo>
                    <a:pt x="153" y="147"/>
                  </a:lnTo>
                  <a:lnTo>
                    <a:pt x="112" y="130"/>
                  </a:lnTo>
                  <a:lnTo>
                    <a:pt x="91" y="123"/>
                  </a:lnTo>
                  <a:lnTo>
                    <a:pt x="89" y="117"/>
                  </a:lnTo>
                  <a:lnTo>
                    <a:pt x="71" y="119"/>
                  </a:lnTo>
                  <a:lnTo>
                    <a:pt x="60" y="119"/>
                  </a:lnTo>
                  <a:lnTo>
                    <a:pt x="52" y="136"/>
                  </a:lnTo>
                  <a:lnTo>
                    <a:pt x="37" y="138"/>
                  </a:lnTo>
                  <a:lnTo>
                    <a:pt x="32" y="106"/>
                  </a:lnTo>
                  <a:lnTo>
                    <a:pt x="17" y="100"/>
                  </a:lnTo>
                  <a:lnTo>
                    <a:pt x="17" y="91"/>
                  </a:lnTo>
                  <a:lnTo>
                    <a:pt x="26" y="91"/>
                  </a:lnTo>
                  <a:lnTo>
                    <a:pt x="22" y="87"/>
                  </a:lnTo>
                  <a:lnTo>
                    <a:pt x="11" y="8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22" y="67"/>
                  </a:lnTo>
                  <a:lnTo>
                    <a:pt x="32" y="71"/>
                  </a:lnTo>
                  <a:lnTo>
                    <a:pt x="37" y="67"/>
                  </a:lnTo>
                  <a:lnTo>
                    <a:pt x="37" y="61"/>
                  </a:lnTo>
                  <a:lnTo>
                    <a:pt x="26" y="56"/>
                  </a:lnTo>
                  <a:lnTo>
                    <a:pt x="22" y="43"/>
                  </a:lnTo>
                  <a:lnTo>
                    <a:pt x="11" y="41"/>
                  </a:lnTo>
                  <a:lnTo>
                    <a:pt x="7" y="50"/>
                  </a:lnTo>
                  <a:lnTo>
                    <a:pt x="9" y="61"/>
                  </a:lnTo>
                  <a:lnTo>
                    <a:pt x="0" y="50"/>
                  </a:lnTo>
                  <a:lnTo>
                    <a:pt x="9" y="37"/>
                  </a:lnTo>
                  <a:lnTo>
                    <a:pt x="24" y="41"/>
                  </a:lnTo>
                  <a:lnTo>
                    <a:pt x="32" y="46"/>
                  </a:lnTo>
                  <a:lnTo>
                    <a:pt x="52" y="52"/>
                  </a:lnTo>
                  <a:lnTo>
                    <a:pt x="60" y="50"/>
                  </a:lnTo>
                  <a:lnTo>
                    <a:pt x="80" y="46"/>
                  </a:lnTo>
                  <a:lnTo>
                    <a:pt x="71" y="2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3" name="Freeform 157"/>
            <p:cNvSpPr>
              <a:spLocks noChangeAspect="1"/>
            </p:cNvSpPr>
            <p:nvPr/>
          </p:nvSpPr>
          <p:spPr bwMode="auto">
            <a:xfrm>
              <a:off x="3045" y="2137"/>
              <a:ext cx="216" cy="178"/>
            </a:xfrm>
            <a:custGeom>
              <a:avLst/>
              <a:gdLst>
                <a:gd name="T0" fmla="*/ 4 w 196"/>
                <a:gd name="T1" fmla="*/ 7 h 175"/>
                <a:gd name="T2" fmla="*/ 90 w 196"/>
                <a:gd name="T3" fmla="*/ 7 h 175"/>
                <a:gd name="T4" fmla="*/ 207 w 196"/>
                <a:gd name="T5" fmla="*/ 7 h 175"/>
                <a:gd name="T6" fmla="*/ 533 w 196"/>
                <a:gd name="T7" fmla="*/ 15 h 175"/>
                <a:gd name="T8" fmla="*/ 699 w 196"/>
                <a:gd name="T9" fmla="*/ 13 h 175"/>
                <a:gd name="T10" fmla="*/ 699 w 196"/>
                <a:gd name="T11" fmla="*/ 7 h 175"/>
                <a:gd name="T12" fmla="*/ 733 w 196"/>
                <a:gd name="T13" fmla="*/ 9 h 175"/>
                <a:gd name="T14" fmla="*/ 770 w 196"/>
                <a:gd name="T15" fmla="*/ 7 h 175"/>
                <a:gd name="T16" fmla="*/ 888 w 196"/>
                <a:gd name="T17" fmla="*/ 9 h 175"/>
                <a:gd name="T18" fmla="*/ 933 w 196"/>
                <a:gd name="T19" fmla="*/ 15 h 175"/>
                <a:gd name="T20" fmla="*/ 933 w 196"/>
                <a:gd name="T21" fmla="*/ 9 h 175"/>
                <a:gd name="T22" fmla="*/ 941 w 196"/>
                <a:gd name="T23" fmla="*/ 9 h 175"/>
                <a:gd name="T24" fmla="*/ 984 w 196"/>
                <a:gd name="T25" fmla="*/ 13 h 175"/>
                <a:gd name="T26" fmla="*/ 1079 w 196"/>
                <a:gd name="T27" fmla="*/ 13 h 175"/>
                <a:gd name="T28" fmla="*/ 1219 w 196"/>
                <a:gd name="T29" fmla="*/ 9 h 175"/>
                <a:gd name="T30" fmla="*/ 1231 w 196"/>
                <a:gd name="T31" fmla="*/ 0 h 175"/>
                <a:gd name="T32" fmla="*/ 1239 w 196"/>
                <a:gd name="T33" fmla="*/ 7 h 175"/>
                <a:gd name="T34" fmla="*/ 1231 w 196"/>
                <a:gd name="T35" fmla="*/ 13 h 175"/>
                <a:gd name="T36" fmla="*/ 1276 w 196"/>
                <a:gd name="T37" fmla="*/ 22 h 175"/>
                <a:gd name="T38" fmla="*/ 1310 w 196"/>
                <a:gd name="T39" fmla="*/ 51 h 175"/>
                <a:gd name="T40" fmla="*/ 1310 w 196"/>
                <a:gd name="T41" fmla="*/ 63 h 175"/>
                <a:gd name="T42" fmla="*/ 1276 w 196"/>
                <a:gd name="T43" fmla="*/ 63 h 175"/>
                <a:gd name="T44" fmla="*/ 1276 w 196"/>
                <a:gd name="T45" fmla="*/ 70 h 175"/>
                <a:gd name="T46" fmla="*/ 1239 w 196"/>
                <a:gd name="T47" fmla="*/ 85 h 175"/>
                <a:gd name="T48" fmla="*/ 1231 w 196"/>
                <a:gd name="T49" fmla="*/ 96 h 175"/>
                <a:gd name="T50" fmla="*/ 1110 w 196"/>
                <a:gd name="T51" fmla="*/ 79 h 175"/>
                <a:gd name="T52" fmla="*/ 1079 w 196"/>
                <a:gd name="T53" fmla="*/ 70 h 175"/>
                <a:gd name="T54" fmla="*/ 1060 w 196"/>
                <a:gd name="T55" fmla="*/ 66 h 175"/>
                <a:gd name="T56" fmla="*/ 1007 w 196"/>
                <a:gd name="T57" fmla="*/ 59 h 175"/>
                <a:gd name="T58" fmla="*/ 984 w 196"/>
                <a:gd name="T59" fmla="*/ 59 h 175"/>
                <a:gd name="T60" fmla="*/ 984 w 196"/>
                <a:gd name="T61" fmla="*/ 61 h 175"/>
                <a:gd name="T62" fmla="*/ 1007 w 196"/>
                <a:gd name="T63" fmla="*/ 66 h 175"/>
                <a:gd name="T64" fmla="*/ 1122 w 196"/>
                <a:gd name="T65" fmla="*/ 90 h 175"/>
                <a:gd name="T66" fmla="*/ 1122 w 196"/>
                <a:gd name="T67" fmla="*/ 100 h 175"/>
                <a:gd name="T68" fmla="*/ 1219 w 196"/>
                <a:gd name="T69" fmla="*/ 129 h 175"/>
                <a:gd name="T70" fmla="*/ 1276 w 196"/>
                <a:gd name="T71" fmla="*/ 144 h 175"/>
                <a:gd name="T72" fmla="*/ 1426 w 196"/>
                <a:gd name="T73" fmla="*/ 194 h 175"/>
                <a:gd name="T74" fmla="*/ 1468 w 196"/>
                <a:gd name="T75" fmla="*/ 201 h 175"/>
                <a:gd name="T76" fmla="*/ 1426 w 196"/>
                <a:gd name="T77" fmla="*/ 201 h 175"/>
                <a:gd name="T78" fmla="*/ 1480 w 196"/>
                <a:gd name="T79" fmla="*/ 225 h 175"/>
                <a:gd name="T80" fmla="*/ 1532 w 196"/>
                <a:gd name="T81" fmla="*/ 230 h 175"/>
                <a:gd name="T82" fmla="*/ 1563 w 196"/>
                <a:gd name="T83" fmla="*/ 237 h 175"/>
                <a:gd name="T84" fmla="*/ 1598 w 196"/>
                <a:gd name="T85" fmla="*/ 245 h 175"/>
                <a:gd name="T86" fmla="*/ 67 w 196"/>
                <a:gd name="T87" fmla="*/ 242 h 175"/>
                <a:gd name="T88" fmla="*/ 4 w 196"/>
                <a:gd name="T89" fmla="*/ 66 h 175"/>
                <a:gd name="T90" fmla="*/ 0 w 196"/>
                <a:gd name="T91" fmla="*/ 51 h 175"/>
                <a:gd name="T92" fmla="*/ 4 w 196"/>
                <a:gd name="T93" fmla="*/ 22 h 175"/>
                <a:gd name="T94" fmla="*/ 0 w 196"/>
                <a:gd name="T95" fmla="*/ 9 h 175"/>
                <a:gd name="T96" fmla="*/ 4 w 196"/>
                <a:gd name="T97" fmla="*/ 7 h 17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6"/>
                <a:gd name="T148" fmla="*/ 0 h 175"/>
                <a:gd name="T149" fmla="*/ 196 w 196"/>
                <a:gd name="T150" fmla="*/ 175 h 17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6" h="175">
                  <a:moveTo>
                    <a:pt x="4" y="7"/>
                  </a:moveTo>
                  <a:lnTo>
                    <a:pt x="11" y="7"/>
                  </a:lnTo>
                  <a:lnTo>
                    <a:pt x="26" y="7"/>
                  </a:lnTo>
                  <a:lnTo>
                    <a:pt x="65" y="15"/>
                  </a:lnTo>
                  <a:lnTo>
                    <a:pt x="86" y="13"/>
                  </a:lnTo>
                  <a:lnTo>
                    <a:pt x="86" y="7"/>
                  </a:lnTo>
                  <a:lnTo>
                    <a:pt x="90" y="9"/>
                  </a:lnTo>
                  <a:lnTo>
                    <a:pt x="95" y="7"/>
                  </a:lnTo>
                  <a:lnTo>
                    <a:pt x="108" y="9"/>
                  </a:lnTo>
                  <a:lnTo>
                    <a:pt x="114" y="15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21" y="13"/>
                  </a:lnTo>
                  <a:lnTo>
                    <a:pt x="131" y="13"/>
                  </a:lnTo>
                  <a:lnTo>
                    <a:pt x="149" y="9"/>
                  </a:lnTo>
                  <a:lnTo>
                    <a:pt x="151" y="0"/>
                  </a:lnTo>
                  <a:lnTo>
                    <a:pt x="153" y="7"/>
                  </a:lnTo>
                  <a:lnTo>
                    <a:pt x="151" y="13"/>
                  </a:lnTo>
                  <a:lnTo>
                    <a:pt x="155" y="22"/>
                  </a:lnTo>
                  <a:lnTo>
                    <a:pt x="160" y="31"/>
                  </a:lnTo>
                  <a:lnTo>
                    <a:pt x="160" y="43"/>
                  </a:lnTo>
                  <a:lnTo>
                    <a:pt x="155" y="43"/>
                  </a:lnTo>
                  <a:lnTo>
                    <a:pt x="155" y="50"/>
                  </a:lnTo>
                  <a:lnTo>
                    <a:pt x="153" y="65"/>
                  </a:lnTo>
                  <a:lnTo>
                    <a:pt x="151" y="72"/>
                  </a:lnTo>
                  <a:lnTo>
                    <a:pt x="136" y="59"/>
                  </a:lnTo>
                  <a:lnTo>
                    <a:pt x="131" y="50"/>
                  </a:lnTo>
                  <a:lnTo>
                    <a:pt x="129" y="46"/>
                  </a:lnTo>
                  <a:lnTo>
                    <a:pt x="123" y="39"/>
                  </a:lnTo>
                  <a:lnTo>
                    <a:pt x="121" y="39"/>
                  </a:lnTo>
                  <a:lnTo>
                    <a:pt x="121" y="41"/>
                  </a:lnTo>
                  <a:lnTo>
                    <a:pt x="123" y="46"/>
                  </a:lnTo>
                  <a:lnTo>
                    <a:pt x="138" y="69"/>
                  </a:lnTo>
                  <a:lnTo>
                    <a:pt x="138" y="74"/>
                  </a:lnTo>
                  <a:lnTo>
                    <a:pt x="149" y="89"/>
                  </a:lnTo>
                  <a:lnTo>
                    <a:pt x="155" y="104"/>
                  </a:lnTo>
                  <a:lnTo>
                    <a:pt x="175" y="138"/>
                  </a:lnTo>
                  <a:lnTo>
                    <a:pt x="179" y="143"/>
                  </a:lnTo>
                  <a:lnTo>
                    <a:pt x="175" y="143"/>
                  </a:lnTo>
                  <a:lnTo>
                    <a:pt x="181" y="160"/>
                  </a:lnTo>
                  <a:lnTo>
                    <a:pt x="188" y="164"/>
                  </a:lnTo>
                  <a:lnTo>
                    <a:pt x="190" y="169"/>
                  </a:lnTo>
                  <a:lnTo>
                    <a:pt x="196" y="175"/>
                  </a:lnTo>
                  <a:lnTo>
                    <a:pt x="8" y="173"/>
                  </a:lnTo>
                  <a:lnTo>
                    <a:pt x="4" y="46"/>
                  </a:lnTo>
                  <a:lnTo>
                    <a:pt x="0" y="31"/>
                  </a:lnTo>
                  <a:lnTo>
                    <a:pt x="4" y="22"/>
                  </a:lnTo>
                  <a:lnTo>
                    <a:pt x="0" y="9"/>
                  </a:lnTo>
                  <a:lnTo>
                    <a:pt x="4" y="7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4" name="Freeform 158"/>
            <p:cNvSpPr>
              <a:spLocks noChangeAspect="1"/>
            </p:cNvSpPr>
            <p:nvPr/>
          </p:nvSpPr>
          <p:spPr bwMode="auto">
            <a:xfrm>
              <a:off x="2457" y="2038"/>
              <a:ext cx="368" cy="328"/>
            </a:xfrm>
            <a:custGeom>
              <a:avLst/>
              <a:gdLst>
                <a:gd name="T0" fmla="*/ 892 w 334"/>
                <a:gd name="T1" fmla="*/ 57 h 322"/>
                <a:gd name="T2" fmla="*/ 1015 w 334"/>
                <a:gd name="T3" fmla="*/ 48 h 322"/>
                <a:gd name="T4" fmla="*/ 1106 w 334"/>
                <a:gd name="T5" fmla="*/ 22 h 322"/>
                <a:gd name="T6" fmla="*/ 1343 w 334"/>
                <a:gd name="T7" fmla="*/ 9 h 322"/>
                <a:gd name="T8" fmla="*/ 1550 w 334"/>
                <a:gd name="T9" fmla="*/ 7 h 322"/>
                <a:gd name="T10" fmla="*/ 1708 w 334"/>
                <a:gd name="T11" fmla="*/ 4 h 322"/>
                <a:gd name="T12" fmla="*/ 1836 w 334"/>
                <a:gd name="T13" fmla="*/ 9 h 322"/>
                <a:gd name="T14" fmla="*/ 1957 w 334"/>
                <a:gd name="T15" fmla="*/ 0 h 322"/>
                <a:gd name="T16" fmla="*/ 2031 w 334"/>
                <a:gd name="T17" fmla="*/ 4 h 322"/>
                <a:gd name="T18" fmla="*/ 2143 w 334"/>
                <a:gd name="T19" fmla="*/ 7 h 322"/>
                <a:gd name="T20" fmla="*/ 2238 w 334"/>
                <a:gd name="T21" fmla="*/ 7 h 322"/>
                <a:gd name="T22" fmla="*/ 2210 w 334"/>
                <a:gd name="T23" fmla="*/ 13 h 322"/>
                <a:gd name="T24" fmla="*/ 2210 w 334"/>
                <a:gd name="T25" fmla="*/ 61 h 322"/>
                <a:gd name="T26" fmla="*/ 2143 w 334"/>
                <a:gd name="T27" fmla="*/ 97 h 322"/>
                <a:gd name="T28" fmla="*/ 2238 w 334"/>
                <a:gd name="T29" fmla="*/ 124 h 322"/>
                <a:gd name="T30" fmla="*/ 2364 w 334"/>
                <a:gd name="T31" fmla="*/ 180 h 322"/>
                <a:gd name="T32" fmla="*/ 2435 w 334"/>
                <a:gd name="T33" fmla="*/ 238 h 322"/>
                <a:gd name="T34" fmla="*/ 2435 w 334"/>
                <a:gd name="T35" fmla="*/ 277 h 322"/>
                <a:gd name="T36" fmla="*/ 2445 w 334"/>
                <a:gd name="T37" fmla="*/ 309 h 322"/>
                <a:gd name="T38" fmla="*/ 2493 w 334"/>
                <a:gd name="T39" fmla="*/ 330 h 322"/>
                <a:gd name="T40" fmla="*/ 2640 w 334"/>
                <a:gd name="T41" fmla="*/ 334 h 322"/>
                <a:gd name="T42" fmla="*/ 2601 w 334"/>
                <a:gd name="T43" fmla="*/ 368 h 322"/>
                <a:gd name="T44" fmla="*/ 1917 w 334"/>
                <a:gd name="T45" fmla="*/ 449 h 322"/>
                <a:gd name="T46" fmla="*/ 1584 w 334"/>
                <a:gd name="T47" fmla="*/ 464 h 322"/>
                <a:gd name="T48" fmla="*/ 1584 w 334"/>
                <a:gd name="T49" fmla="*/ 449 h 322"/>
                <a:gd name="T50" fmla="*/ 1495 w 334"/>
                <a:gd name="T51" fmla="*/ 438 h 322"/>
                <a:gd name="T52" fmla="*/ 1372 w 334"/>
                <a:gd name="T53" fmla="*/ 430 h 322"/>
                <a:gd name="T54" fmla="*/ 1292 w 334"/>
                <a:gd name="T55" fmla="*/ 415 h 322"/>
                <a:gd name="T56" fmla="*/ 0 w 334"/>
                <a:gd name="T57" fmla="*/ 252 h 322"/>
                <a:gd name="T58" fmla="*/ 55 w 334"/>
                <a:gd name="T59" fmla="*/ 210 h 322"/>
                <a:gd name="T60" fmla="*/ 251 w 334"/>
                <a:gd name="T61" fmla="*/ 198 h 322"/>
                <a:gd name="T62" fmla="*/ 336 w 334"/>
                <a:gd name="T63" fmla="*/ 198 h 322"/>
                <a:gd name="T64" fmla="*/ 602 w 334"/>
                <a:gd name="T65" fmla="*/ 168 h 322"/>
                <a:gd name="T66" fmla="*/ 657 w 334"/>
                <a:gd name="T67" fmla="*/ 151 h 322"/>
                <a:gd name="T68" fmla="*/ 735 w 334"/>
                <a:gd name="T69" fmla="*/ 141 h 322"/>
                <a:gd name="T70" fmla="*/ 967 w 334"/>
                <a:gd name="T71" fmla="*/ 131 h 322"/>
                <a:gd name="T72" fmla="*/ 967 w 334"/>
                <a:gd name="T73" fmla="*/ 119 h 322"/>
                <a:gd name="T74" fmla="*/ 934 w 334"/>
                <a:gd name="T75" fmla="*/ 81 h 322"/>
                <a:gd name="T76" fmla="*/ 892 w 334"/>
                <a:gd name="T77" fmla="*/ 63 h 32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34"/>
                <a:gd name="T118" fmla="*/ 0 h 322"/>
                <a:gd name="T119" fmla="*/ 334 w 334"/>
                <a:gd name="T120" fmla="*/ 322 h 32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34" h="322">
                  <a:moveTo>
                    <a:pt x="103" y="37"/>
                  </a:moveTo>
                  <a:lnTo>
                    <a:pt x="110" y="37"/>
                  </a:lnTo>
                  <a:lnTo>
                    <a:pt x="116" y="30"/>
                  </a:lnTo>
                  <a:lnTo>
                    <a:pt x="125" y="28"/>
                  </a:lnTo>
                  <a:lnTo>
                    <a:pt x="131" y="24"/>
                  </a:lnTo>
                  <a:lnTo>
                    <a:pt x="136" y="22"/>
                  </a:lnTo>
                  <a:lnTo>
                    <a:pt x="146" y="15"/>
                  </a:lnTo>
                  <a:lnTo>
                    <a:pt x="164" y="9"/>
                  </a:lnTo>
                  <a:lnTo>
                    <a:pt x="181" y="9"/>
                  </a:lnTo>
                  <a:lnTo>
                    <a:pt x="190" y="7"/>
                  </a:lnTo>
                  <a:lnTo>
                    <a:pt x="196" y="4"/>
                  </a:lnTo>
                  <a:lnTo>
                    <a:pt x="209" y="4"/>
                  </a:lnTo>
                  <a:lnTo>
                    <a:pt x="218" y="9"/>
                  </a:lnTo>
                  <a:lnTo>
                    <a:pt x="224" y="9"/>
                  </a:lnTo>
                  <a:lnTo>
                    <a:pt x="231" y="7"/>
                  </a:lnTo>
                  <a:lnTo>
                    <a:pt x="239" y="0"/>
                  </a:lnTo>
                  <a:lnTo>
                    <a:pt x="241" y="0"/>
                  </a:lnTo>
                  <a:lnTo>
                    <a:pt x="248" y="4"/>
                  </a:lnTo>
                  <a:lnTo>
                    <a:pt x="250" y="0"/>
                  </a:lnTo>
                  <a:lnTo>
                    <a:pt x="263" y="7"/>
                  </a:lnTo>
                  <a:lnTo>
                    <a:pt x="274" y="4"/>
                  </a:lnTo>
                  <a:lnTo>
                    <a:pt x="274" y="7"/>
                  </a:lnTo>
                  <a:lnTo>
                    <a:pt x="270" y="9"/>
                  </a:lnTo>
                  <a:lnTo>
                    <a:pt x="270" y="13"/>
                  </a:lnTo>
                  <a:lnTo>
                    <a:pt x="270" y="24"/>
                  </a:lnTo>
                  <a:lnTo>
                    <a:pt x="270" y="41"/>
                  </a:lnTo>
                  <a:lnTo>
                    <a:pt x="259" y="56"/>
                  </a:lnTo>
                  <a:lnTo>
                    <a:pt x="263" y="69"/>
                  </a:lnTo>
                  <a:lnTo>
                    <a:pt x="270" y="71"/>
                  </a:lnTo>
                  <a:lnTo>
                    <a:pt x="274" y="84"/>
                  </a:lnTo>
                  <a:lnTo>
                    <a:pt x="285" y="91"/>
                  </a:lnTo>
                  <a:lnTo>
                    <a:pt x="291" y="125"/>
                  </a:lnTo>
                  <a:lnTo>
                    <a:pt x="293" y="145"/>
                  </a:lnTo>
                  <a:lnTo>
                    <a:pt x="298" y="166"/>
                  </a:lnTo>
                  <a:lnTo>
                    <a:pt x="293" y="175"/>
                  </a:lnTo>
                  <a:lnTo>
                    <a:pt x="298" y="190"/>
                  </a:lnTo>
                  <a:lnTo>
                    <a:pt x="291" y="199"/>
                  </a:lnTo>
                  <a:lnTo>
                    <a:pt x="300" y="214"/>
                  </a:lnTo>
                  <a:lnTo>
                    <a:pt x="300" y="220"/>
                  </a:lnTo>
                  <a:lnTo>
                    <a:pt x="306" y="229"/>
                  </a:lnTo>
                  <a:lnTo>
                    <a:pt x="313" y="227"/>
                  </a:lnTo>
                  <a:lnTo>
                    <a:pt x="323" y="231"/>
                  </a:lnTo>
                  <a:lnTo>
                    <a:pt x="334" y="244"/>
                  </a:lnTo>
                  <a:lnTo>
                    <a:pt x="319" y="255"/>
                  </a:lnTo>
                  <a:lnTo>
                    <a:pt x="259" y="287"/>
                  </a:lnTo>
                  <a:lnTo>
                    <a:pt x="235" y="311"/>
                  </a:lnTo>
                  <a:lnTo>
                    <a:pt x="209" y="320"/>
                  </a:lnTo>
                  <a:lnTo>
                    <a:pt x="194" y="322"/>
                  </a:lnTo>
                  <a:lnTo>
                    <a:pt x="190" y="320"/>
                  </a:lnTo>
                  <a:lnTo>
                    <a:pt x="194" y="311"/>
                  </a:lnTo>
                  <a:lnTo>
                    <a:pt x="190" y="307"/>
                  </a:lnTo>
                  <a:lnTo>
                    <a:pt x="183" y="302"/>
                  </a:lnTo>
                  <a:lnTo>
                    <a:pt x="177" y="300"/>
                  </a:lnTo>
                  <a:lnTo>
                    <a:pt x="168" y="296"/>
                  </a:lnTo>
                  <a:lnTo>
                    <a:pt x="159" y="292"/>
                  </a:lnTo>
                  <a:lnTo>
                    <a:pt x="159" y="287"/>
                  </a:lnTo>
                  <a:lnTo>
                    <a:pt x="60" y="216"/>
                  </a:lnTo>
                  <a:lnTo>
                    <a:pt x="0" y="175"/>
                  </a:lnTo>
                  <a:lnTo>
                    <a:pt x="0" y="149"/>
                  </a:lnTo>
                  <a:lnTo>
                    <a:pt x="6" y="145"/>
                  </a:lnTo>
                  <a:lnTo>
                    <a:pt x="21" y="136"/>
                  </a:lnTo>
                  <a:lnTo>
                    <a:pt x="30" y="136"/>
                  </a:lnTo>
                  <a:lnTo>
                    <a:pt x="36" y="134"/>
                  </a:lnTo>
                  <a:lnTo>
                    <a:pt x="41" y="136"/>
                  </a:lnTo>
                  <a:lnTo>
                    <a:pt x="54" y="134"/>
                  </a:lnTo>
                  <a:lnTo>
                    <a:pt x="73" y="117"/>
                  </a:lnTo>
                  <a:lnTo>
                    <a:pt x="80" y="110"/>
                  </a:lnTo>
                  <a:lnTo>
                    <a:pt x="80" y="106"/>
                  </a:lnTo>
                  <a:lnTo>
                    <a:pt x="80" y="102"/>
                  </a:lnTo>
                  <a:lnTo>
                    <a:pt x="90" y="99"/>
                  </a:lnTo>
                  <a:lnTo>
                    <a:pt x="90" y="93"/>
                  </a:lnTo>
                  <a:lnTo>
                    <a:pt x="118" y="91"/>
                  </a:lnTo>
                  <a:lnTo>
                    <a:pt x="118" y="87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4" y="61"/>
                  </a:lnTo>
                  <a:lnTo>
                    <a:pt x="114" y="54"/>
                  </a:lnTo>
                  <a:lnTo>
                    <a:pt x="110" y="43"/>
                  </a:lnTo>
                  <a:lnTo>
                    <a:pt x="103" y="37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5" name="Freeform 159"/>
            <p:cNvSpPr>
              <a:spLocks noChangeAspect="1"/>
            </p:cNvSpPr>
            <p:nvPr/>
          </p:nvSpPr>
          <p:spPr bwMode="auto">
            <a:xfrm>
              <a:off x="2813" y="2783"/>
              <a:ext cx="224" cy="206"/>
            </a:xfrm>
            <a:custGeom>
              <a:avLst/>
              <a:gdLst>
                <a:gd name="T0" fmla="*/ 263 w 203"/>
                <a:gd name="T1" fmla="*/ 0 h 203"/>
                <a:gd name="T2" fmla="*/ 374 w 203"/>
                <a:gd name="T3" fmla="*/ 0 h 203"/>
                <a:gd name="T4" fmla="*/ 717 w 203"/>
                <a:gd name="T5" fmla="*/ 0 h 203"/>
                <a:gd name="T6" fmla="*/ 717 w 203"/>
                <a:gd name="T7" fmla="*/ 11 h 203"/>
                <a:gd name="T8" fmla="*/ 745 w 203"/>
                <a:gd name="T9" fmla="*/ 22 h 203"/>
                <a:gd name="T10" fmla="*/ 966 w 203"/>
                <a:gd name="T11" fmla="*/ 57 h 203"/>
                <a:gd name="T12" fmla="*/ 1087 w 203"/>
                <a:gd name="T13" fmla="*/ 32 h 203"/>
                <a:gd name="T14" fmla="*/ 1113 w 203"/>
                <a:gd name="T15" fmla="*/ 26 h 203"/>
                <a:gd name="T16" fmla="*/ 1190 w 203"/>
                <a:gd name="T17" fmla="*/ 17 h 203"/>
                <a:gd name="T18" fmla="*/ 1247 w 203"/>
                <a:gd name="T19" fmla="*/ 26 h 203"/>
                <a:gd name="T20" fmla="*/ 1423 w 203"/>
                <a:gd name="T21" fmla="*/ 57 h 203"/>
                <a:gd name="T22" fmla="*/ 1387 w 203"/>
                <a:gd name="T23" fmla="*/ 78 h 203"/>
                <a:gd name="T24" fmla="*/ 1475 w 203"/>
                <a:gd name="T25" fmla="*/ 87 h 203"/>
                <a:gd name="T26" fmla="*/ 1475 w 203"/>
                <a:gd name="T27" fmla="*/ 110 h 203"/>
                <a:gd name="T28" fmla="*/ 1506 w 203"/>
                <a:gd name="T29" fmla="*/ 110 h 203"/>
                <a:gd name="T30" fmla="*/ 1650 w 203"/>
                <a:gd name="T31" fmla="*/ 102 h 203"/>
                <a:gd name="T32" fmla="*/ 1706 w 203"/>
                <a:gd name="T33" fmla="*/ 102 h 203"/>
                <a:gd name="T34" fmla="*/ 1706 w 203"/>
                <a:gd name="T35" fmla="*/ 152 h 203"/>
                <a:gd name="T36" fmla="*/ 1706 w 203"/>
                <a:gd name="T37" fmla="*/ 161 h 203"/>
                <a:gd name="T38" fmla="*/ 1423 w 203"/>
                <a:gd name="T39" fmla="*/ 233 h 203"/>
                <a:gd name="T40" fmla="*/ 1599 w 203"/>
                <a:gd name="T41" fmla="*/ 262 h 203"/>
                <a:gd name="T42" fmla="*/ 1298 w 203"/>
                <a:gd name="T43" fmla="*/ 271 h 203"/>
                <a:gd name="T44" fmla="*/ 1176 w 203"/>
                <a:gd name="T45" fmla="*/ 271 h 203"/>
                <a:gd name="T46" fmla="*/ 928 w 203"/>
                <a:gd name="T47" fmla="*/ 262 h 203"/>
                <a:gd name="T48" fmla="*/ 374 w 203"/>
                <a:gd name="T49" fmla="*/ 257 h 203"/>
                <a:gd name="T50" fmla="*/ 263 w 203"/>
                <a:gd name="T51" fmla="*/ 251 h 203"/>
                <a:gd name="T52" fmla="*/ 127 w 203"/>
                <a:gd name="T53" fmla="*/ 257 h 203"/>
                <a:gd name="T54" fmla="*/ 62 w 203"/>
                <a:gd name="T55" fmla="*/ 257 h 203"/>
                <a:gd name="T56" fmla="*/ 42 w 203"/>
                <a:gd name="T57" fmla="*/ 237 h 203"/>
                <a:gd name="T58" fmla="*/ 62 w 203"/>
                <a:gd name="T59" fmla="*/ 224 h 203"/>
                <a:gd name="T60" fmla="*/ 113 w 203"/>
                <a:gd name="T61" fmla="*/ 179 h 203"/>
                <a:gd name="T62" fmla="*/ 188 w 203"/>
                <a:gd name="T63" fmla="*/ 157 h 203"/>
                <a:gd name="T64" fmla="*/ 290 w 203"/>
                <a:gd name="T65" fmla="*/ 148 h 203"/>
                <a:gd name="T66" fmla="*/ 290 w 203"/>
                <a:gd name="T67" fmla="*/ 100 h 203"/>
                <a:gd name="T68" fmla="*/ 215 w 203"/>
                <a:gd name="T69" fmla="*/ 72 h 203"/>
                <a:gd name="T70" fmla="*/ 188 w 203"/>
                <a:gd name="T71" fmla="*/ 17 h 203"/>
                <a:gd name="T72" fmla="*/ 188 w 203"/>
                <a:gd name="T73" fmla="*/ 2 h 20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3"/>
                <a:gd name="T112" fmla="*/ 0 h 203"/>
                <a:gd name="T113" fmla="*/ 203 w 203"/>
                <a:gd name="T114" fmla="*/ 203 h 20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3" h="203">
                  <a:moveTo>
                    <a:pt x="26" y="0"/>
                  </a:moveTo>
                  <a:lnTo>
                    <a:pt x="31" y="0"/>
                  </a:lnTo>
                  <a:lnTo>
                    <a:pt x="37" y="2"/>
                  </a:lnTo>
                  <a:lnTo>
                    <a:pt x="44" y="0"/>
                  </a:lnTo>
                  <a:lnTo>
                    <a:pt x="74" y="0"/>
                  </a:lnTo>
                  <a:lnTo>
                    <a:pt x="85" y="0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9" y="17"/>
                  </a:lnTo>
                  <a:lnTo>
                    <a:pt x="89" y="22"/>
                  </a:lnTo>
                  <a:lnTo>
                    <a:pt x="100" y="37"/>
                  </a:lnTo>
                  <a:lnTo>
                    <a:pt x="115" y="37"/>
                  </a:lnTo>
                  <a:lnTo>
                    <a:pt x="115" y="32"/>
                  </a:lnTo>
                  <a:lnTo>
                    <a:pt x="130" y="32"/>
                  </a:lnTo>
                  <a:lnTo>
                    <a:pt x="130" y="26"/>
                  </a:lnTo>
                  <a:lnTo>
                    <a:pt x="132" y="26"/>
                  </a:lnTo>
                  <a:lnTo>
                    <a:pt x="132" y="22"/>
                  </a:lnTo>
                  <a:lnTo>
                    <a:pt x="141" y="17"/>
                  </a:lnTo>
                  <a:lnTo>
                    <a:pt x="149" y="15"/>
                  </a:lnTo>
                  <a:lnTo>
                    <a:pt x="149" y="26"/>
                  </a:lnTo>
                  <a:lnTo>
                    <a:pt x="164" y="26"/>
                  </a:lnTo>
                  <a:lnTo>
                    <a:pt x="169" y="37"/>
                  </a:lnTo>
                  <a:lnTo>
                    <a:pt x="173" y="45"/>
                  </a:lnTo>
                  <a:lnTo>
                    <a:pt x="164" y="58"/>
                  </a:lnTo>
                  <a:lnTo>
                    <a:pt x="173" y="65"/>
                  </a:lnTo>
                  <a:lnTo>
                    <a:pt x="175" y="67"/>
                  </a:lnTo>
                  <a:lnTo>
                    <a:pt x="175" y="80"/>
                  </a:lnTo>
                  <a:lnTo>
                    <a:pt x="175" y="86"/>
                  </a:lnTo>
                  <a:lnTo>
                    <a:pt x="177" y="91"/>
                  </a:lnTo>
                  <a:lnTo>
                    <a:pt x="180" y="86"/>
                  </a:lnTo>
                  <a:lnTo>
                    <a:pt x="188" y="86"/>
                  </a:lnTo>
                  <a:lnTo>
                    <a:pt x="197" y="82"/>
                  </a:lnTo>
                  <a:lnTo>
                    <a:pt x="203" y="86"/>
                  </a:lnTo>
                  <a:lnTo>
                    <a:pt x="203" y="82"/>
                  </a:lnTo>
                  <a:lnTo>
                    <a:pt x="203" y="101"/>
                  </a:lnTo>
                  <a:lnTo>
                    <a:pt x="203" y="112"/>
                  </a:lnTo>
                  <a:lnTo>
                    <a:pt x="203" y="117"/>
                  </a:lnTo>
                  <a:lnTo>
                    <a:pt x="203" y="121"/>
                  </a:lnTo>
                  <a:lnTo>
                    <a:pt x="173" y="121"/>
                  </a:lnTo>
                  <a:lnTo>
                    <a:pt x="169" y="173"/>
                  </a:lnTo>
                  <a:lnTo>
                    <a:pt x="184" y="186"/>
                  </a:lnTo>
                  <a:lnTo>
                    <a:pt x="190" y="196"/>
                  </a:lnTo>
                  <a:lnTo>
                    <a:pt x="160" y="203"/>
                  </a:lnTo>
                  <a:lnTo>
                    <a:pt x="154" y="203"/>
                  </a:lnTo>
                  <a:lnTo>
                    <a:pt x="147" y="203"/>
                  </a:lnTo>
                  <a:lnTo>
                    <a:pt x="139" y="203"/>
                  </a:lnTo>
                  <a:lnTo>
                    <a:pt x="115" y="201"/>
                  </a:lnTo>
                  <a:lnTo>
                    <a:pt x="111" y="196"/>
                  </a:lnTo>
                  <a:lnTo>
                    <a:pt x="108" y="192"/>
                  </a:lnTo>
                  <a:lnTo>
                    <a:pt x="44" y="192"/>
                  </a:lnTo>
                  <a:lnTo>
                    <a:pt x="39" y="192"/>
                  </a:lnTo>
                  <a:lnTo>
                    <a:pt x="31" y="188"/>
                  </a:lnTo>
                  <a:lnTo>
                    <a:pt x="26" y="186"/>
                  </a:lnTo>
                  <a:lnTo>
                    <a:pt x="16" y="192"/>
                  </a:lnTo>
                  <a:lnTo>
                    <a:pt x="13" y="192"/>
                  </a:lnTo>
                  <a:lnTo>
                    <a:pt x="7" y="192"/>
                  </a:lnTo>
                  <a:lnTo>
                    <a:pt x="5" y="192"/>
                  </a:lnTo>
                  <a:lnTo>
                    <a:pt x="5" y="177"/>
                  </a:lnTo>
                  <a:lnTo>
                    <a:pt x="0" y="170"/>
                  </a:lnTo>
                  <a:lnTo>
                    <a:pt x="7" y="166"/>
                  </a:lnTo>
                  <a:lnTo>
                    <a:pt x="13" y="151"/>
                  </a:lnTo>
                  <a:lnTo>
                    <a:pt x="13" y="136"/>
                  </a:lnTo>
                  <a:lnTo>
                    <a:pt x="20" y="123"/>
                  </a:lnTo>
                  <a:lnTo>
                    <a:pt x="22" y="117"/>
                  </a:lnTo>
                  <a:lnTo>
                    <a:pt x="29" y="110"/>
                  </a:lnTo>
                  <a:lnTo>
                    <a:pt x="35" y="108"/>
                  </a:lnTo>
                  <a:lnTo>
                    <a:pt x="37" y="93"/>
                  </a:lnTo>
                  <a:lnTo>
                    <a:pt x="35" y="80"/>
                  </a:lnTo>
                  <a:lnTo>
                    <a:pt x="29" y="67"/>
                  </a:lnTo>
                  <a:lnTo>
                    <a:pt x="26" y="52"/>
                  </a:lnTo>
                  <a:lnTo>
                    <a:pt x="31" y="45"/>
                  </a:lnTo>
                  <a:lnTo>
                    <a:pt x="22" y="17"/>
                  </a:lnTo>
                  <a:lnTo>
                    <a:pt x="13" y="2"/>
                  </a:lnTo>
                  <a:lnTo>
                    <a:pt x="22" y="2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6" name="Freeform 160"/>
            <p:cNvSpPr>
              <a:spLocks noChangeAspect="1"/>
            </p:cNvSpPr>
            <p:nvPr/>
          </p:nvSpPr>
          <p:spPr bwMode="auto">
            <a:xfrm>
              <a:off x="2823" y="2758"/>
              <a:ext cx="19" cy="23"/>
            </a:xfrm>
            <a:custGeom>
              <a:avLst/>
              <a:gdLst>
                <a:gd name="T0" fmla="*/ 0 w 17"/>
                <a:gd name="T1" fmla="*/ 31 h 22"/>
                <a:gd name="T2" fmla="*/ 63 w 17"/>
                <a:gd name="T3" fmla="*/ 7 h 22"/>
                <a:gd name="T4" fmla="*/ 63 w 17"/>
                <a:gd name="T5" fmla="*/ 2 h 22"/>
                <a:gd name="T6" fmla="*/ 135 w 17"/>
                <a:gd name="T7" fmla="*/ 0 h 22"/>
                <a:gd name="T8" fmla="*/ 169 w 17"/>
                <a:gd name="T9" fmla="*/ 2 h 22"/>
                <a:gd name="T10" fmla="*/ 169 w 17"/>
                <a:gd name="T11" fmla="*/ 7 h 22"/>
                <a:gd name="T12" fmla="*/ 121 w 17"/>
                <a:gd name="T13" fmla="*/ 31 h 22"/>
                <a:gd name="T14" fmla="*/ 121 w 17"/>
                <a:gd name="T15" fmla="*/ 51 h 22"/>
                <a:gd name="T16" fmla="*/ 4 w 17"/>
                <a:gd name="T17" fmla="*/ 51 h 22"/>
                <a:gd name="T18" fmla="*/ 4 w 17"/>
                <a:gd name="T19" fmla="*/ 41 h 22"/>
                <a:gd name="T20" fmla="*/ 0 w 17"/>
                <a:gd name="T21" fmla="*/ 31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"/>
                <a:gd name="T34" fmla="*/ 0 h 22"/>
                <a:gd name="T35" fmla="*/ 17 w 17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" h="22">
                  <a:moveTo>
                    <a:pt x="0" y="11"/>
                  </a:moveTo>
                  <a:lnTo>
                    <a:pt x="7" y="7"/>
                  </a:lnTo>
                  <a:lnTo>
                    <a:pt x="7" y="2"/>
                  </a:lnTo>
                  <a:lnTo>
                    <a:pt x="13" y="0"/>
                  </a:lnTo>
                  <a:lnTo>
                    <a:pt x="17" y="2"/>
                  </a:lnTo>
                  <a:lnTo>
                    <a:pt x="17" y="7"/>
                  </a:lnTo>
                  <a:lnTo>
                    <a:pt x="11" y="11"/>
                  </a:lnTo>
                  <a:lnTo>
                    <a:pt x="11" y="22"/>
                  </a:lnTo>
                  <a:lnTo>
                    <a:pt x="4" y="22"/>
                  </a:lnTo>
                  <a:lnTo>
                    <a:pt x="4" y="17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7" name="Freeform 161"/>
            <p:cNvSpPr>
              <a:spLocks noChangeAspect="1"/>
            </p:cNvSpPr>
            <p:nvPr/>
          </p:nvSpPr>
          <p:spPr bwMode="auto">
            <a:xfrm>
              <a:off x="3204" y="2383"/>
              <a:ext cx="268" cy="246"/>
            </a:xfrm>
            <a:custGeom>
              <a:avLst/>
              <a:gdLst>
                <a:gd name="T0" fmla="*/ 685 w 244"/>
                <a:gd name="T1" fmla="*/ 19 h 242"/>
                <a:gd name="T2" fmla="*/ 790 w 244"/>
                <a:gd name="T3" fmla="*/ 70 h 242"/>
                <a:gd name="T4" fmla="*/ 804 w 244"/>
                <a:gd name="T5" fmla="*/ 61 h 242"/>
                <a:gd name="T6" fmla="*/ 898 w 244"/>
                <a:gd name="T7" fmla="*/ 72 h 242"/>
                <a:gd name="T8" fmla="*/ 1059 w 244"/>
                <a:gd name="T9" fmla="*/ 87 h 242"/>
                <a:gd name="T10" fmla="*/ 1199 w 244"/>
                <a:gd name="T11" fmla="*/ 121 h 242"/>
                <a:gd name="T12" fmla="*/ 1253 w 244"/>
                <a:gd name="T13" fmla="*/ 127 h 242"/>
                <a:gd name="T14" fmla="*/ 1143 w 244"/>
                <a:gd name="T15" fmla="*/ 135 h 242"/>
                <a:gd name="T16" fmla="*/ 1091 w 244"/>
                <a:gd name="T17" fmla="*/ 146 h 242"/>
                <a:gd name="T18" fmla="*/ 1199 w 244"/>
                <a:gd name="T19" fmla="*/ 159 h 242"/>
                <a:gd name="T20" fmla="*/ 1199 w 244"/>
                <a:gd name="T21" fmla="*/ 171 h 242"/>
                <a:gd name="T22" fmla="*/ 1376 w 244"/>
                <a:gd name="T23" fmla="*/ 204 h 242"/>
                <a:gd name="T24" fmla="*/ 1867 w 244"/>
                <a:gd name="T25" fmla="*/ 228 h 242"/>
                <a:gd name="T26" fmla="*/ 1450 w 244"/>
                <a:gd name="T27" fmla="*/ 299 h 242"/>
                <a:gd name="T28" fmla="*/ 1253 w 244"/>
                <a:gd name="T29" fmla="*/ 320 h 242"/>
                <a:gd name="T30" fmla="*/ 1124 w 244"/>
                <a:gd name="T31" fmla="*/ 323 h 242"/>
                <a:gd name="T32" fmla="*/ 996 w 244"/>
                <a:gd name="T33" fmla="*/ 320 h 242"/>
                <a:gd name="T34" fmla="*/ 868 w 244"/>
                <a:gd name="T35" fmla="*/ 320 h 242"/>
                <a:gd name="T36" fmla="*/ 685 w 244"/>
                <a:gd name="T37" fmla="*/ 331 h 242"/>
                <a:gd name="T38" fmla="*/ 445 w 244"/>
                <a:gd name="T39" fmla="*/ 313 h 242"/>
                <a:gd name="T40" fmla="*/ 346 w 244"/>
                <a:gd name="T41" fmla="*/ 291 h 242"/>
                <a:gd name="T42" fmla="*/ 281 w 244"/>
                <a:gd name="T43" fmla="*/ 278 h 242"/>
                <a:gd name="T44" fmla="*/ 175 w 244"/>
                <a:gd name="T45" fmla="*/ 254 h 242"/>
                <a:gd name="T46" fmla="*/ 0 w 244"/>
                <a:gd name="T47" fmla="*/ 233 h 242"/>
                <a:gd name="T48" fmla="*/ 82 w 244"/>
                <a:gd name="T49" fmla="*/ 222 h 242"/>
                <a:gd name="T50" fmla="*/ 159 w 244"/>
                <a:gd name="T51" fmla="*/ 191 h 242"/>
                <a:gd name="T52" fmla="*/ 175 w 244"/>
                <a:gd name="T53" fmla="*/ 171 h 242"/>
                <a:gd name="T54" fmla="*/ 238 w 244"/>
                <a:gd name="T55" fmla="*/ 165 h 242"/>
                <a:gd name="T56" fmla="*/ 281 w 244"/>
                <a:gd name="T57" fmla="*/ 142 h 242"/>
                <a:gd name="T58" fmla="*/ 379 w 244"/>
                <a:gd name="T59" fmla="*/ 121 h 242"/>
                <a:gd name="T60" fmla="*/ 445 w 244"/>
                <a:gd name="T61" fmla="*/ 76 h 242"/>
                <a:gd name="T62" fmla="*/ 458 w 244"/>
                <a:gd name="T63" fmla="*/ 26 h 242"/>
                <a:gd name="T64" fmla="*/ 543 w 244"/>
                <a:gd name="T65" fmla="*/ 15 h 242"/>
                <a:gd name="T66" fmla="*/ 590 w 244"/>
                <a:gd name="T67" fmla="*/ 7 h 242"/>
                <a:gd name="T68" fmla="*/ 665 w 244"/>
                <a:gd name="T69" fmla="*/ 0 h 2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242"/>
                <a:gd name="T107" fmla="*/ 244 w 244"/>
                <a:gd name="T108" fmla="*/ 242 h 2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242">
                  <a:moveTo>
                    <a:pt x="87" y="0"/>
                  </a:moveTo>
                  <a:lnTo>
                    <a:pt x="91" y="19"/>
                  </a:lnTo>
                  <a:lnTo>
                    <a:pt x="100" y="37"/>
                  </a:lnTo>
                  <a:lnTo>
                    <a:pt x="104" y="50"/>
                  </a:lnTo>
                  <a:lnTo>
                    <a:pt x="106" y="50"/>
                  </a:lnTo>
                  <a:lnTo>
                    <a:pt x="106" y="41"/>
                  </a:lnTo>
                  <a:lnTo>
                    <a:pt x="115" y="52"/>
                  </a:lnTo>
                  <a:lnTo>
                    <a:pt x="117" y="52"/>
                  </a:lnTo>
                  <a:lnTo>
                    <a:pt x="126" y="56"/>
                  </a:lnTo>
                  <a:lnTo>
                    <a:pt x="139" y="67"/>
                  </a:lnTo>
                  <a:lnTo>
                    <a:pt x="147" y="80"/>
                  </a:lnTo>
                  <a:lnTo>
                    <a:pt x="156" y="86"/>
                  </a:lnTo>
                  <a:lnTo>
                    <a:pt x="160" y="86"/>
                  </a:lnTo>
                  <a:lnTo>
                    <a:pt x="164" y="89"/>
                  </a:lnTo>
                  <a:lnTo>
                    <a:pt x="156" y="91"/>
                  </a:lnTo>
                  <a:lnTo>
                    <a:pt x="151" y="95"/>
                  </a:lnTo>
                  <a:lnTo>
                    <a:pt x="147" y="102"/>
                  </a:lnTo>
                  <a:lnTo>
                    <a:pt x="141" y="106"/>
                  </a:lnTo>
                  <a:lnTo>
                    <a:pt x="145" y="117"/>
                  </a:lnTo>
                  <a:lnTo>
                    <a:pt x="156" y="117"/>
                  </a:lnTo>
                  <a:lnTo>
                    <a:pt x="160" y="121"/>
                  </a:lnTo>
                  <a:lnTo>
                    <a:pt x="156" y="125"/>
                  </a:lnTo>
                  <a:lnTo>
                    <a:pt x="169" y="140"/>
                  </a:lnTo>
                  <a:lnTo>
                    <a:pt x="180" y="147"/>
                  </a:lnTo>
                  <a:lnTo>
                    <a:pt x="229" y="164"/>
                  </a:lnTo>
                  <a:lnTo>
                    <a:pt x="244" y="164"/>
                  </a:lnTo>
                  <a:lnTo>
                    <a:pt x="197" y="214"/>
                  </a:lnTo>
                  <a:lnTo>
                    <a:pt x="190" y="214"/>
                  </a:lnTo>
                  <a:lnTo>
                    <a:pt x="169" y="220"/>
                  </a:lnTo>
                  <a:lnTo>
                    <a:pt x="164" y="231"/>
                  </a:lnTo>
                  <a:lnTo>
                    <a:pt x="154" y="231"/>
                  </a:lnTo>
                  <a:lnTo>
                    <a:pt x="147" y="233"/>
                  </a:lnTo>
                  <a:lnTo>
                    <a:pt x="136" y="233"/>
                  </a:lnTo>
                  <a:lnTo>
                    <a:pt x="130" y="231"/>
                  </a:lnTo>
                  <a:lnTo>
                    <a:pt x="119" y="231"/>
                  </a:lnTo>
                  <a:lnTo>
                    <a:pt x="115" y="231"/>
                  </a:lnTo>
                  <a:lnTo>
                    <a:pt x="106" y="242"/>
                  </a:lnTo>
                  <a:lnTo>
                    <a:pt x="91" y="240"/>
                  </a:lnTo>
                  <a:lnTo>
                    <a:pt x="74" y="231"/>
                  </a:lnTo>
                  <a:lnTo>
                    <a:pt x="57" y="225"/>
                  </a:lnTo>
                  <a:lnTo>
                    <a:pt x="46" y="220"/>
                  </a:lnTo>
                  <a:lnTo>
                    <a:pt x="46" y="209"/>
                  </a:lnTo>
                  <a:lnTo>
                    <a:pt x="41" y="209"/>
                  </a:lnTo>
                  <a:lnTo>
                    <a:pt x="37" y="201"/>
                  </a:lnTo>
                  <a:lnTo>
                    <a:pt x="35" y="194"/>
                  </a:lnTo>
                  <a:lnTo>
                    <a:pt x="22" y="184"/>
                  </a:lnTo>
                  <a:lnTo>
                    <a:pt x="11" y="175"/>
                  </a:lnTo>
                  <a:lnTo>
                    <a:pt x="0" y="168"/>
                  </a:lnTo>
                  <a:lnTo>
                    <a:pt x="0" y="160"/>
                  </a:lnTo>
                  <a:lnTo>
                    <a:pt x="11" y="160"/>
                  </a:lnTo>
                  <a:lnTo>
                    <a:pt x="20" y="155"/>
                  </a:lnTo>
                  <a:lnTo>
                    <a:pt x="20" y="138"/>
                  </a:lnTo>
                  <a:lnTo>
                    <a:pt x="22" y="132"/>
                  </a:lnTo>
                  <a:lnTo>
                    <a:pt x="22" y="125"/>
                  </a:lnTo>
                  <a:lnTo>
                    <a:pt x="26" y="121"/>
                  </a:lnTo>
                  <a:lnTo>
                    <a:pt x="31" y="121"/>
                  </a:lnTo>
                  <a:lnTo>
                    <a:pt x="35" y="117"/>
                  </a:lnTo>
                  <a:lnTo>
                    <a:pt x="37" y="102"/>
                  </a:lnTo>
                  <a:lnTo>
                    <a:pt x="44" y="89"/>
                  </a:lnTo>
                  <a:lnTo>
                    <a:pt x="50" y="86"/>
                  </a:lnTo>
                  <a:lnTo>
                    <a:pt x="52" y="76"/>
                  </a:lnTo>
                  <a:lnTo>
                    <a:pt x="57" y="56"/>
                  </a:lnTo>
                  <a:lnTo>
                    <a:pt x="61" y="35"/>
                  </a:lnTo>
                  <a:lnTo>
                    <a:pt x="61" y="26"/>
                  </a:lnTo>
                  <a:lnTo>
                    <a:pt x="65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7"/>
                  </a:lnTo>
                  <a:lnTo>
                    <a:pt x="85" y="11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8" name="Freeform 162"/>
            <p:cNvSpPr>
              <a:spLocks noChangeAspect="1"/>
            </p:cNvSpPr>
            <p:nvPr/>
          </p:nvSpPr>
          <p:spPr bwMode="auto">
            <a:xfrm>
              <a:off x="2622" y="2476"/>
              <a:ext cx="54" cy="104"/>
            </a:xfrm>
            <a:custGeom>
              <a:avLst/>
              <a:gdLst>
                <a:gd name="T0" fmla="*/ 207 w 49"/>
                <a:gd name="T1" fmla="*/ 8 h 103"/>
                <a:gd name="T2" fmla="*/ 245 w 49"/>
                <a:gd name="T3" fmla="*/ 0 h 103"/>
                <a:gd name="T4" fmla="*/ 277 w 49"/>
                <a:gd name="T5" fmla="*/ 0 h 103"/>
                <a:gd name="T6" fmla="*/ 316 w 49"/>
                <a:gd name="T7" fmla="*/ 8 h 103"/>
                <a:gd name="T8" fmla="*/ 370 w 49"/>
                <a:gd name="T9" fmla="*/ 13 h 103"/>
                <a:gd name="T10" fmla="*/ 370 w 49"/>
                <a:gd name="T11" fmla="*/ 15 h 103"/>
                <a:gd name="T12" fmla="*/ 398 w 49"/>
                <a:gd name="T13" fmla="*/ 28 h 103"/>
                <a:gd name="T14" fmla="*/ 370 w 49"/>
                <a:gd name="T15" fmla="*/ 34 h 103"/>
                <a:gd name="T16" fmla="*/ 370 w 49"/>
                <a:gd name="T17" fmla="*/ 41 h 103"/>
                <a:gd name="T18" fmla="*/ 353 w 49"/>
                <a:gd name="T19" fmla="*/ 43 h 103"/>
                <a:gd name="T20" fmla="*/ 316 w 49"/>
                <a:gd name="T21" fmla="*/ 74 h 103"/>
                <a:gd name="T22" fmla="*/ 277 w 49"/>
                <a:gd name="T23" fmla="*/ 76 h 103"/>
                <a:gd name="T24" fmla="*/ 277 w 49"/>
                <a:gd name="T25" fmla="*/ 84 h 103"/>
                <a:gd name="T26" fmla="*/ 277 w 49"/>
                <a:gd name="T27" fmla="*/ 104 h 103"/>
                <a:gd name="T28" fmla="*/ 290 w 49"/>
                <a:gd name="T29" fmla="*/ 119 h 103"/>
                <a:gd name="T30" fmla="*/ 207 w 49"/>
                <a:gd name="T31" fmla="*/ 119 h 103"/>
                <a:gd name="T32" fmla="*/ 120 w 49"/>
                <a:gd name="T33" fmla="*/ 123 h 103"/>
                <a:gd name="T34" fmla="*/ 120 w 49"/>
                <a:gd name="T35" fmla="*/ 115 h 103"/>
                <a:gd name="T36" fmla="*/ 120 w 49"/>
                <a:gd name="T37" fmla="*/ 113 h 103"/>
                <a:gd name="T38" fmla="*/ 120 w 49"/>
                <a:gd name="T39" fmla="*/ 74 h 103"/>
                <a:gd name="T40" fmla="*/ 82 w 49"/>
                <a:gd name="T41" fmla="*/ 47 h 103"/>
                <a:gd name="T42" fmla="*/ 67 w 49"/>
                <a:gd name="T43" fmla="*/ 41 h 103"/>
                <a:gd name="T44" fmla="*/ 4 w 49"/>
                <a:gd name="T45" fmla="*/ 34 h 103"/>
                <a:gd name="T46" fmla="*/ 0 w 49"/>
                <a:gd name="T47" fmla="*/ 26 h 103"/>
                <a:gd name="T48" fmla="*/ 45 w 49"/>
                <a:gd name="T49" fmla="*/ 23 h 103"/>
                <a:gd name="T50" fmla="*/ 82 w 49"/>
                <a:gd name="T51" fmla="*/ 19 h 103"/>
                <a:gd name="T52" fmla="*/ 176 w 49"/>
                <a:gd name="T53" fmla="*/ 15 h 103"/>
                <a:gd name="T54" fmla="*/ 207 w 49"/>
                <a:gd name="T55" fmla="*/ 8 h 10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9"/>
                <a:gd name="T85" fmla="*/ 0 h 103"/>
                <a:gd name="T86" fmla="*/ 49 w 49"/>
                <a:gd name="T87" fmla="*/ 103 h 10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9" h="103">
                  <a:moveTo>
                    <a:pt x="26" y="8"/>
                  </a:moveTo>
                  <a:lnTo>
                    <a:pt x="30" y="0"/>
                  </a:lnTo>
                  <a:lnTo>
                    <a:pt x="34" y="0"/>
                  </a:lnTo>
                  <a:lnTo>
                    <a:pt x="39" y="8"/>
                  </a:lnTo>
                  <a:lnTo>
                    <a:pt x="45" y="13"/>
                  </a:lnTo>
                  <a:lnTo>
                    <a:pt x="45" y="15"/>
                  </a:lnTo>
                  <a:lnTo>
                    <a:pt x="49" y="28"/>
                  </a:lnTo>
                  <a:lnTo>
                    <a:pt x="45" y="34"/>
                  </a:lnTo>
                  <a:lnTo>
                    <a:pt x="45" y="41"/>
                  </a:lnTo>
                  <a:lnTo>
                    <a:pt x="43" y="43"/>
                  </a:lnTo>
                  <a:lnTo>
                    <a:pt x="39" y="54"/>
                  </a:lnTo>
                  <a:lnTo>
                    <a:pt x="34" y="56"/>
                  </a:lnTo>
                  <a:lnTo>
                    <a:pt x="34" y="64"/>
                  </a:lnTo>
                  <a:lnTo>
                    <a:pt x="34" y="84"/>
                  </a:lnTo>
                  <a:lnTo>
                    <a:pt x="36" y="99"/>
                  </a:lnTo>
                  <a:lnTo>
                    <a:pt x="26" y="99"/>
                  </a:lnTo>
                  <a:lnTo>
                    <a:pt x="15" y="103"/>
                  </a:lnTo>
                  <a:lnTo>
                    <a:pt x="15" y="95"/>
                  </a:lnTo>
                  <a:lnTo>
                    <a:pt x="15" y="93"/>
                  </a:lnTo>
                  <a:lnTo>
                    <a:pt x="15" y="54"/>
                  </a:lnTo>
                  <a:lnTo>
                    <a:pt x="10" y="47"/>
                  </a:lnTo>
                  <a:lnTo>
                    <a:pt x="8" y="41"/>
                  </a:lnTo>
                  <a:lnTo>
                    <a:pt x="4" y="34"/>
                  </a:lnTo>
                  <a:lnTo>
                    <a:pt x="0" y="26"/>
                  </a:lnTo>
                  <a:lnTo>
                    <a:pt x="6" y="23"/>
                  </a:lnTo>
                  <a:lnTo>
                    <a:pt x="10" y="19"/>
                  </a:lnTo>
                  <a:lnTo>
                    <a:pt x="21" y="15"/>
                  </a:lnTo>
                  <a:lnTo>
                    <a:pt x="26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69" name="Freeform 163"/>
            <p:cNvSpPr>
              <a:spLocks noChangeAspect="1"/>
            </p:cNvSpPr>
            <p:nvPr/>
          </p:nvSpPr>
          <p:spPr bwMode="auto">
            <a:xfrm>
              <a:off x="2961" y="2987"/>
              <a:ext cx="162" cy="158"/>
            </a:xfrm>
            <a:custGeom>
              <a:avLst/>
              <a:gdLst>
                <a:gd name="T0" fmla="*/ 723 w 147"/>
                <a:gd name="T1" fmla="*/ 0 h 155"/>
                <a:gd name="T2" fmla="*/ 752 w 147"/>
                <a:gd name="T3" fmla="*/ 8 h 155"/>
                <a:gd name="T4" fmla="*/ 847 w 147"/>
                <a:gd name="T5" fmla="*/ 21 h 155"/>
                <a:gd name="T6" fmla="*/ 847 w 147"/>
                <a:gd name="T7" fmla="*/ 46 h 155"/>
                <a:gd name="T8" fmla="*/ 914 w 147"/>
                <a:gd name="T9" fmla="*/ 52 h 155"/>
                <a:gd name="T10" fmla="*/ 981 w 147"/>
                <a:gd name="T11" fmla="*/ 56 h 155"/>
                <a:gd name="T12" fmla="*/ 1007 w 147"/>
                <a:gd name="T13" fmla="*/ 65 h 155"/>
                <a:gd name="T14" fmla="*/ 1032 w 147"/>
                <a:gd name="T15" fmla="*/ 65 h 155"/>
                <a:gd name="T16" fmla="*/ 1060 w 147"/>
                <a:gd name="T17" fmla="*/ 76 h 155"/>
                <a:gd name="T18" fmla="*/ 1097 w 147"/>
                <a:gd name="T19" fmla="*/ 90 h 155"/>
                <a:gd name="T20" fmla="*/ 1122 w 147"/>
                <a:gd name="T21" fmla="*/ 90 h 155"/>
                <a:gd name="T22" fmla="*/ 1219 w 147"/>
                <a:gd name="T23" fmla="*/ 96 h 155"/>
                <a:gd name="T24" fmla="*/ 1219 w 147"/>
                <a:gd name="T25" fmla="*/ 112 h 155"/>
                <a:gd name="T26" fmla="*/ 1171 w 147"/>
                <a:gd name="T27" fmla="*/ 122 h 155"/>
                <a:gd name="T28" fmla="*/ 1122 w 147"/>
                <a:gd name="T29" fmla="*/ 122 h 155"/>
                <a:gd name="T30" fmla="*/ 1032 w 147"/>
                <a:gd name="T31" fmla="*/ 130 h 155"/>
                <a:gd name="T32" fmla="*/ 1007 w 147"/>
                <a:gd name="T33" fmla="*/ 130 h 155"/>
                <a:gd name="T34" fmla="*/ 981 w 147"/>
                <a:gd name="T35" fmla="*/ 137 h 155"/>
                <a:gd name="T36" fmla="*/ 966 w 147"/>
                <a:gd name="T37" fmla="*/ 140 h 155"/>
                <a:gd name="T38" fmla="*/ 914 w 147"/>
                <a:gd name="T39" fmla="*/ 149 h 155"/>
                <a:gd name="T40" fmla="*/ 914 w 147"/>
                <a:gd name="T41" fmla="*/ 163 h 155"/>
                <a:gd name="T42" fmla="*/ 866 w 147"/>
                <a:gd name="T43" fmla="*/ 169 h 155"/>
                <a:gd name="T44" fmla="*/ 786 w 147"/>
                <a:gd name="T45" fmla="*/ 172 h 155"/>
                <a:gd name="T46" fmla="*/ 723 w 147"/>
                <a:gd name="T47" fmla="*/ 198 h 155"/>
                <a:gd name="T48" fmla="*/ 665 w 147"/>
                <a:gd name="T49" fmla="*/ 198 h 155"/>
                <a:gd name="T50" fmla="*/ 587 w 147"/>
                <a:gd name="T51" fmla="*/ 198 h 155"/>
                <a:gd name="T52" fmla="*/ 498 w 147"/>
                <a:gd name="T53" fmla="*/ 198 h 155"/>
                <a:gd name="T54" fmla="*/ 429 w 147"/>
                <a:gd name="T55" fmla="*/ 186 h 155"/>
                <a:gd name="T56" fmla="*/ 353 w 147"/>
                <a:gd name="T57" fmla="*/ 186 h 155"/>
                <a:gd name="T58" fmla="*/ 353 w 147"/>
                <a:gd name="T59" fmla="*/ 206 h 155"/>
                <a:gd name="T60" fmla="*/ 270 w 147"/>
                <a:gd name="T61" fmla="*/ 218 h 155"/>
                <a:gd name="T62" fmla="*/ 207 w 147"/>
                <a:gd name="T63" fmla="*/ 218 h 155"/>
                <a:gd name="T64" fmla="*/ 207 w 147"/>
                <a:gd name="T65" fmla="*/ 221 h 155"/>
                <a:gd name="T66" fmla="*/ 150 w 147"/>
                <a:gd name="T67" fmla="*/ 221 h 155"/>
                <a:gd name="T68" fmla="*/ 74 w 147"/>
                <a:gd name="T69" fmla="*/ 226 h 155"/>
                <a:gd name="T70" fmla="*/ 74 w 147"/>
                <a:gd name="T71" fmla="*/ 211 h 155"/>
                <a:gd name="T72" fmla="*/ 90 w 147"/>
                <a:gd name="T73" fmla="*/ 206 h 155"/>
                <a:gd name="T74" fmla="*/ 74 w 147"/>
                <a:gd name="T75" fmla="*/ 198 h 155"/>
                <a:gd name="T76" fmla="*/ 61 w 147"/>
                <a:gd name="T77" fmla="*/ 182 h 155"/>
                <a:gd name="T78" fmla="*/ 0 w 147"/>
                <a:gd name="T79" fmla="*/ 172 h 155"/>
                <a:gd name="T80" fmla="*/ 2 w 147"/>
                <a:gd name="T81" fmla="*/ 100 h 155"/>
                <a:gd name="T82" fmla="*/ 150 w 147"/>
                <a:gd name="T83" fmla="*/ 100 h 155"/>
                <a:gd name="T84" fmla="*/ 182 w 147"/>
                <a:gd name="T85" fmla="*/ 8 h 155"/>
                <a:gd name="T86" fmla="*/ 353 w 147"/>
                <a:gd name="T87" fmla="*/ 6 h 155"/>
                <a:gd name="T88" fmla="*/ 450 w 147"/>
                <a:gd name="T89" fmla="*/ 2 h 155"/>
                <a:gd name="T90" fmla="*/ 498 w 147"/>
                <a:gd name="T91" fmla="*/ 8 h 155"/>
                <a:gd name="T92" fmla="*/ 587 w 147"/>
                <a:gd name="T93" fmla="*/ 2 h 155"/>
                <a:gd name="T94" fmla="*/ 624 w 147"/>
                <a:gd name="T95" fmla="*/ 2 h 155"/>
                <a:gd name="T96" fmla="*/ 681 w 147"/>
                <a:gd name="T97" fmla="*/ 0 h 155"/>
                <a:gd name="T98" fmla="*/ 723 w 147"/>
                <a:gd name="T99" fmla="*/ 0 h 15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7"/>
                <a:gd name="T151" fmla="*/ 0 h 155"/>
                <a:gd name="T152" fmla="*/ 147 w 147"/>
                <a:gd name="T153" fmla="*/ 155 h 15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7" h="155">
                  <a:moveTo>
                    <a:pt x="87" y="0"/>
                  </a:moveTo>
                  <a:lnTo>
                    <a:pt x="91" y="8"/>
                  </a:lnTo>
                  <a:lnTo>
                    <a:pt x="102" y="21"/>
                  </a:lnTo>
                  <a:lnTo>
                    <a:pt x="102" y="26"/>
                  </a:lnTo>
                  <a:lnTo>
                    <a:pt x="110" y="32"/>
                  </a:lnTo>
                  <a:lnTo>
                    <a:pt x="119" y="36"/>
                  </a:lnTo>
                  <a:lnTo>
                    <a:pt x="121" y="45"/>
                  </a:lnTo>
                  <a:lnTo>
                    <a:pt x="125" y="45"/>
                  </a:lnTo>
                  <a:lnTo>
                    <a:pt x="128" y="56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47" y="67"/>
                  </a:lnTo>
                  <a:lnTo>
                    <a:pt x="147" y="75"/>
                  </a:lnTo>
                  <a:lnTo>
                    <a:pt x="141" y="82"/>
                  </a:lnTo>
                  <a:lnTo>
                    <a:pt x="136" y="82"/>
                  </a:lnTo>
                  <a:lnTo>
                    <a:pt x="125" y="90"/>
                  </a:lnTo>
                  <a:lnTo>
                    <a:pt x="121" y="90"/>
                  </a:lnTo>
                  <a:lnTo>
                    <a:pt x="119" y="95"/>
                  </a:lnTo>
                  <a:lnTo>
                    <a:pt x="117" y="97"/>
                  </a:lnTo>
                  <a:lnTo>
                    <a:pt x="110" y="103"/>
                  </a:lnTo>
                  <a:lnTo>
                    <a:pt x="110" y="112"/>
                  </a:lnTo>
                  <a:lnTo>
                    <a:pt x="104" y="116"/>
                  </a:lnTo>
                  <a:lnTo>
                    <a:pt x="95" y="118"/>
                  </a:lnTo>
                  <a:lnTo>
                    <a:pt x="87" y="134"/>
                  </a:lnTo>
                  <a:lnTo>
                    <a:pt x="80" y="134"/>
                  </a:lnTo>
                  <a:lnTo>
                    <a:pt x="71" y="134"/>
                  </a:lnTo>
                  <a:lnTo>
                    <a:pt x="61" y="134"/>
                  </a:lnTo>
                  <a:lnTo>
                    <a:pt x="52" y="127"/>
                  </a:lnTo>
                  <a:lnTo>
                    <a:pt x="43" y="127"/>
                  </a:lnTo>
                  <a:lnTo>
                    <a:pt x="43" y="140"/>
                  </a:lnTo>
                  <a:lnTo>
                    <a:pt x="33" y="149"/>
                  </a:lnTo>
                  <a:lnTo>
                    <a:pt x="26" y="149"/>
                  </a:lnTo>
                  <a:lnTo>
                    <a:pt x="26" y="151"/>
                  </a:lnTo>
                  <a:lnTo>
                    <a:pt x="18" y="151"/>
                  </a:lnTo>
                  <a:lnTo>
                    <a:pt x="9" y="155"/>
                  </a:lnTo>
                  <a:lnTo>
                    <a:pt x="9" y="144"/>
                  </a:lnTo>
                  <a:lnTo>
                    <a:pt x="11" y="140"/>
                  </a:lnTo>
                  <a:lnTo>
                    <a:pt x="9" y="134"/>
                  </a:lnTo>
                  <a:lnTo>
                    <a:pt x="7" y="125"/>
                  </a:lnTo>
                  <a:lnTo>
                    <a:pt x="0" y="118"/>
                  </a:lnTo>
                  <a:lnTo>
                    <a:pt x="2" y="69"/>
                  </a:lnTo>
                  <a:lnTo>
                    <a:pt x="18" y="69"/>
                  </a:lnTo>
                  <a:lnTo>
                    <a:pt x="22" y="8"/>
                  </a:lnTo>
                  <a:lnTo>
                    <a:pt x="43" y="6"/>
                  </a:lnTo>
                  <a:lnTo>
                    <a:pt x="54" y="2"/>
                  </a:lnTo>
                  <a:lnTo>
                    <a:pt x="61" y="8"/>
                  </a:lnTo>
                  <a:lnTo>
                    <a:pt x="71" y="2"/>
                  </a:lnTo>
                  <a:lnTo>
                    <a:pt x="76" y="2"/>
                  </a:lnTo>
                  <a:lnTo>
                    <a:pt x="82" y="0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0" name="Freeform 164"/>
            <p:cNvSpPr>
              <a:spLocks noChangeAspect="1"/>
            </p:cNvSpPr>
            <p:nvPr/>
          </p:nvSpPr>
          <p:spPr bwMode="auto">
            <a:xfrm>
              <a:off x="2511" y="2432"/>
              <a:ext cx="141" cy="96"/>
            </a:xfrm>
            <a:custGeom>
              <a:avLst/>
              <a:gdLst>
                <a:gd name="T0" fmla="*/ 751 w 128"/>
                <a:gd name="T1" fmla="*/ 4 h 95"/>
                <a:gd name="T2" fmla="*/ 751 w 128"/>
                <a:gd name="T3" fmla="*/ 8 h 95"/>
                <a:gd name="T4" fmla="*/ 769 w 128"/>
                <a:gd name="T5" fmla="*/ 15 h 95"/>
                <a:gd name="T6" fmla="*/ 795 w 128"/>
                <a:gd name="T7" fmla="*/ 21 h 95"/>
                <a:gd name="T8" fmla="*/ 847 w 128"/>
                <a:gd name="T9" fmla="*/ 28 h 95"/>
                <a:gd name="T10" fmla="*/ 887 w 128"/>
                <a:gd name="T11" fmla="*/ 28 h 95"/>
                <a:gd name="T12" fmla="*/ 887 w 128"/>
                <a:gd name="T13" fmla="*/ 30 h 95"/>
                <a:gd name="T14" fmla="*/ 847 w 128"/>
                <a:gd name="T15" fmla="*/ 30 h 95"/>
                <a:gd name="T16" fmla="*/ 847 w 128"/>
                <a:gd name="T17" fmla="*/ 34 h 95"/>
                <a:gd name="T18" fmla="*/ 957 w 128"/>
                <a:gd name="T19" fmla="*/ 38 h 95"/>
                <a:gd name="T20" fmla="*/ 977 w 128"/>
                <a:gd name="T21" fmla="*/ 38 h 95"/>
                <a:gd name="T22" fmla="*/ 1028 w 128"/>
                <a:gd name="T23" fmla="*/ 43 h 95"/>
                <a:gd name="T24" fmla="*/ 977 w 128"/>
                <a:gd name="T25" fmla="*/ 45 h 95"/>
                <a:gd name="T26" fmla="*/ 1052 w 128"/>
                <a:gd name="T27" fmla="*/ 74 h 95"/>
                <a:gd name="T28" fmla="*/ 977 w 128"/>
                <a:gd name="T29" fmla="*/ 80 h 95"/>
                <a:gd name="T30" fmla="*/ 932 w 128"/>
                <a:gd name="T31" fmla="*/ 84 h 95"/>
                <a:gd name="T32" fmla="*/ 869 w 128"/>
                <a:gd name="T33" fmla="*/ 86 h 95"/>
                <a:gd name="T34" fmla="*/ 817 w 128"/>
                <a:gd name="T35" fmla="*/ 89 h 95"/>
                <a:gd name="T36" fmla="*/ 769 w 128"/>
                <a:gd name="T37" fmla="*/ 89 h 95"/>
                <a:gd name="T38" fmla="*/ 751 w 128"/>
                <a:gd name="T39" fmla="*/ 89 h 95"/>
                <a:gd name="T40" fmla="*/ 698 w 128"/>
                <a:gd name="T41" fmla="*/ 86 h 95"/>
                <a:gd name="T42" fmla="*/ 674 w 128"/>
                <a:gd name="T43" fmla="*/ 86 h 95"/>
                <a:gd name="T44" fmla="*/ 657 w 128"/>
                <a:gd name="T45" fmla="*/ 89 h 95"/>
                <a:gd name="T46" fmla="*/ 337 w 128"/>
                <a:gd name="T47" fmla="*/ 86 h 95"/>
                <a:gd name="T48" fmla="*/ 318 w 128"/>
                <a:gd name="T49" fmla="*/ 93 h 95"/>
                <a:gd name="T50" fmla="*/ 337 w 128"/>
                <a:gd name="T51" fmla="*/ 104 h 95"/>
                <a:gd name="T52" fmla="*/ 337 w 128"/>
                <a:gd name="T53" fmla="*/ 115 h 95"/>
                <a:gd name="T54" fmla="*/ 260 w 128"/>
                <a:gd name="T55" fmla="*/ 104 h 95"/>
                <a:gd name="T56" fmla="*/ 181 w 128"/>
                <a:gd name="T57" fmla="*/ 104 h 95"/>
                <a:gd name="T58" fmla="*/ 149 w 128"/>
                <a:gd name="T59" fmla="*/ 112 h 95"/>
                <a:gd name="T60" fmla="*/ 90 w 128"/>
                <a:gd name="T61" fmla="*/ 112 h 95"/>
                <a:gd name="T62" fmla="*/ 61 w 128"/>
                <a:gd name="T63" fmla="*/ 104 h 95"/>
                <a:gd name="T64" fmla="*/ 0 w 128"/>
                <a:gd name="T65" fmla="*/ 99 h 95"/>
                <a:gd name="T66" fmla="*/ 0 w 128"/>
                <a:gd name="T67" fmla="*/ 95 h 95"/>
                <a:gd name="T68" fmla="*/ 0 w 128"/>
                <a:gd name="T69" fmla="*/ 89 h 95"/>
                <a:gd name="T70" fmla="*/ 3 w 128"/>
                <a:gd name="T71" fmla="*/ 84 h 95"/>
                <a:gd name="T72" fmla="*/ 0 w 128"/>
                <a:gd name="T73" fmla="*/ 74 h 95"/>
                <a:gd name="T74" fmla="*/ 74 w 128"/>
                <a:gd name="T75" fmla="*/ 74 h 95"/>
                <a:gd name="T76" fmla="*/ 90 w 128"/>
                <a:gd name="T77" fmla="*/ 74 h 95"/>
                <a:gd name="T78" fmla="*/ 149 w 128"/>
                <a:gd name="T79" fmla="*/ 45 h 95"/>
                <a:gd name="T80" fmla="*/ 149 w 128"/>
                <a:gd name="T81" fmla="*/ 38 h 95"/>
                <a:gd name="T82" fmla="*/ 181 w 128"/>
                <a:gd name="T83" fmla="*/ 38 h 95"/>
                <a:gd name="T84" fmla="*/ 149 w 128"/>
                <a:gd name="T85" fmla="*/ 30 h 95"/>
                <a:gd name="T86" fmla="*/ 194 w 128"/>
                <a:gd name="T87" fmla="*/ 28 h 95"/>
                <a:gd name="T88" fmla="*/ 260 w 128"/>
                <a:gd name="T89" fmla="*/ 34 h 95"/>
                <a:gd name="T90" fmla="*/ 292 w 128"/>
                <a:gd name="T91" fmla="*/ 30 h 95"/>
                <a:gd name="T92" fmla="*/ 265 w 128"/>
                <a:gd name="T93" fmla="*/ 23 h 95"/>
                <a:gd name="T94" fmla="*/ 318 w 128"/>
                <a:gd name="T95" fmla="*/ 23 h 95"/>
                <a:gd name="T96" fmla="*/ 337 w 128"/>
                <a:gd name="T97" fmla="*/ 21 h 95"/>
                <a:gd name="T98" fmla="*/ 458 w 128"/>
                <a:gd name="T99" fmla="*/ 15 h 95"/>
                <a:gd name="T100" fmla="*/ 458 w 128"/>
                <a:gd name="T101" fmla="*/ 6 h 95"/>
                <a:gd name="T102" fmla="*/ 596 w 128"/>
                <a:gd name="T103" fmla="*/ 6 h 95"/>
                <a:gd name="T104" fmla="*/ 620 w 128"/>
                <a:gd name="T105" fmla="*/ 0 h 95"/>
                <a:gd name="T106" fmla="*/ 751 w 128"/>
                <a:gd name="T107" fmla="*/ 4 h 9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8"/>
                <a:gd name="T163" fmla="*/ 0 h 95"/>
                <a:gd name="T164" fmla="*/ 128 w 128"/>
                <a:gd name="T165" fmla="*/ 95 h 9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8" h="95">
                  <a:moveTo>
                    <a:pt x="91" y="4"/>
                  </a:moveTo>
                  <a:lnTo>
                    <a:pt x="91" y="8"/>
                  </a:lnTo>
                  <a:lnTo>
                    <a:pt x="95" y="15"/>
                  </a:lnTo>
                  <a:lnTo>
                    <a:pt x="97" y="21"/>
                  </a:lnTo>
                  <a:lnTo>
                    <a:pt x="104" y="28"/>
                  </a:lnTo>
                  <a:lnTo>
                    <a:pt x="110" y="28"/>
                  </a:lnTo>
                  <a:lnTo>
                    <a:pt x="110" y="30"/>
                  </a:lnTo>
                  <a:lnTo>
                    <a:pt x="104" y="30"/>
                  </a:lnTo>
                  <a:lnTo>
                    <a:pt x="104" y="34"/>
                  </a:lnTo>
                  <a:lnTo>
                    <a:pt x="117" y="38"/>
                  </a:lnTo>
                  <a:lnTo>
                    <a:pt x="121" y="38"/>
                  </a:lnTo>
                  <a:lnTo>
                    <a:pt x="126" y="43"/>
                  </a:lnTo>
                  <a:lnTo>
                    <a:pt x="121" y="45"/>
                  </a:lnTo>
                  <a:lnTo>
                    <a:pt x="128" y="54"/>
                  </a:lnTo>
                  <a:lnTo>
                    <a:pt x="121" y="60"/>
                  </a:lnTo>
                  <a:lnTo>
                    <a:pt x="113" y="64"/>
                  </a:lnTo>
                  <a:lnTo>
                    <a:pt x="106" y="66"/>
                  </a:lnTo>
                  <a:lnTo>
                    <a:pt x="100" y="69"/>
                  </a:lnTo>
                  <a:lnTo>
                    <a:pt x="95" y="69"/>
                  </a:lnTo>
                  <a:lnTo>
                    <a:pt x="91" y="69"/>
                  </a:lnTo>
                  <a:lnTo>
                    <a:pt x="87" y="66"/>
                  </a:lnTo>
                  <a:lnTo>
                    <a:pt x="82" y="66"/>
                  </a:lnTo>
                  <a:lnTo>
                    <a:pt x="80" y="69"/>
                  </a:lnTo>
                  <a:lnTo>
                    <a:pt x="41" y="66"/>
                  </a:lnTo>
                  <a:lnTo>
                    <a:pt x="39" y="73"/>
                  </a:lnTo>
                  <a:lnTo>
                    <a:pt x="41" y="84"/>
                  </a:lnTo>
                  <a:lnTo>
                    <a:pt x="41" y="95"/>
                  </a:lnTo>
                  <a:lnTo>
                    <a:pt x="31" y="84"/>
                  </a:lnTo>
                  <a:lnTo>
                    <a:pt x="22" y="84"/>
                  </a:lnTo>
                  <a:lnTo>
                    <a:pt x="18" y="92"/>
                  </a:lnTo>
                  <a:lnTo>
                    <a:pt x="11" y="92"/>
                  </a:lnTo>
                  <a:lnTo>
                    <a:pt x="7" y="84"/>
                  </a:lnTo>
                  <a:lnTo>
                    <a:pt x="0" y="79"/>
                  </a:lnTo>
                  <a:lnTo>
                    <a:pt x="0" y="75"/>
                  </a:lnTo>
                  <a:lnTo>
                    <a:pt x="0" y="69"/>
                  </a:lnTo>
                  <a:lnTo>
                    <a:pt x="3" y="64"/>
                  </a:lnTo>
                  <a:lnTo>
                    <a:pt x="0" y="54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8" y="45"/>
                  </a:lnTo>
                  <a:lnTo>
                    <a:pt x="18" y="38"/>
                  </a:lnTo>
                  <a:lnTo>
                    <a:pt x="22" y="38"/>
                  </a:lnTo>
                  <a:lnTo>
                    <a:pt x="18" y="30"/>
                  </a:lnTo>
                  <a:lnTo>
                    <a:pt x="24" y="28"/>
                  </a:lnTo>
                  <a:lnTo>
                    <a:pt x="31" y="34"/>
                  </a:lnTo>
                  <a:lnTo>
                    <a:pt x="37" y="30"/>
                  </a:lnTo>
                  <a:lnTo>
                    <a:pt x="33" y="23"/>
                  </a:lnTo>
                  <a:lnTo>
                    <a:pt x="39" y="23"/>
                  </a:lnTo>
                  <a:lnTo>
                    <a:pt x="41" y="21"/>
                  </a:lnTo>
                  <a:lnTo>
                    <a:pt x="56" y="15"/>
                  </a:lnTo>
                  <a:lnTo>
                    <a:pt x="56" y="6"/>
                  </a:lnTo>
                  <a:lnTo>
                    <a:pt x="72" y="6"/>
                  </a:lnTo>
                  <a:lnTo>
                    <a:pt x="76" y="0"/>
                  </a:lnTo>
                  <a:lnTo>
                    <a:pt x="91" y="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1" name="Freeform 165"/>
            <p:cNvSpPr>
              <a:spLocks noChangeAspect="1"/>
            </p:cNvSpPr>
            <p:nvPr/>
          </p:nvSpPr>
          <p:spPr bwMode="auto">
            <a:xfrm>
              <a:off x="3127" y="2724"/>
              <a:ext cx="39" cy="36"/>
            </a:xfrm>
            <a:custGeom>
              <a:avLst/>
              <a:gdLst>
                <a:gd name="T0" fmla="*/ 0 w 35"/>
                <a:gd name="T1" fmla="*/ 6 h 36"/>
                <a:gd name="T2" fmla="*/ 91 w 35"/>
                <a:gd name="T3" fmla="*/ 4 h 36"/>
                <a:gd name="T4" fmla="*/ 91 w 35"/>
                <a:gd name="T5" fmla="*/ 10 h 36"/>
                <a:gd name="T6" fmla="*/ 148 w 35"/>
                <a:gd name="T7" fmla="*/ 6 h 36"/>
                <a:gd name="T8" fmla="*/ 207 w 35"/>
                <a:gd name="T9" fmla="*/ 4 h 36"/>
                <a:gd name="T10" fmla="*/ 241 w 35"/>
                <a:gd name="T11" fmla="*/ 0 h 36"/>
                <a:gd name="T12" fmla="*/ 286 w 35"/>
                <a:gd name="T13" fmla="*/ 6 h 36"/>
                <a:gd name="T14" fmla="*/ 286 w 35"/>
                <a:gd name="T15" fmla="*/ 10 h 36"/>
                <a:gd name="T16" fmla="*/ 355 w 35"/>
                <a:gd name="T17" fmla="*/ 10 h 36"/>
                <a:gd name="T18" fmla="*/ 355 w 35"/>
                <a:gd name="T19" fmla="*/ 19 h 36"/>
                <a:gd name="T20" fmla="*/ 286 w 35"/>
                <a:gd name="T21" fmla="*/ 26 h 36"/>
                <a:gd name="T22" fmla="*/ 207 w 35"/>
                <a:gd name="T23" fmla="*/ 34 h 36"/>
                <a:gd name="T24" fmla="*/ 91 w 35"/>
                <a:gd name="T25" fmla="*/ 36 h 36"/>
                <a:gd name="T26" fmla="*/ 91 w 35"/>
                <a:gd name="T27" fmla="*/ 34 h 36"/>
                <a:gd name="T28" fmla="*/ 91 w 35"/>
                <a:gd name="T29" fmla="*/ 26 h 36"/>
                <a:gd name="T30" fmla="*/ 91 w 35"/>
                <a:gd name="T31" fmla="*/ 19 h 36"/>
                <a:gd name="T32" fmla="*/ 91 w 35"/>
                <a:gd name="T33" fmla="*/ 15 h 36"/>
                <a:gd name="T34" fmla="*/ 48 w 35"/>
                <a:gd name="T35" fmla="*/ 10 h 36"/>
                <a:gd name="T36" fmla="*/ 0 w 35"/>
                <a:gd name="T37" fmla="*/ 6 h 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5"/>
                <a:gd name="T58" fmla="*/ 0 h 36"/>
                <a:gd name="T59" fmla="*/ 35 w 35"/>
                <a:gd name="T60" fmla="*/ 36 h 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5" h="36">
                  <a:moveTo>
                    <a:pt x="0" y="6"/>
                  </a:moveTo>
                  <a:lnTo>
                    <a:pt x="9" y="4"/>
                  </a:lnTo>
                  <a:lnTo>
                    <a:pt x="9" y="10"/>
                  </a:lnTo>
                  <a:lnTo>
                    <a:pt x="15" y="6"/>
                  </a:lnTo>
                  <a:lnTo>
                    <a:pt x="20" y="4"/>
                  </a:lnTo>
                  <a:lnTo>
                    <a:pt x="24" y="0"/>
                  </a:lnTo>
                  <a:lnTo>
                    <a:pt x="28" y="6"/>
                  </a:lnTo>
                  <a:lnTo>
                    <a:pt x="28" y="10"/>
                  </a:lnTo>
                  <a:lnTo>
                    <a:pt x="35" y="10"/>
                  </a:lnTo>
                  <a:lnTo>
                    <a:pt x="35" y="19"/>
                  </a:lnTo>
                  <a:lnTo>
                    <a:pt x="28" y="26"/>
                  </a:lnTo>
                  <a:lnTo>
                    <a:pt x="20" y="34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26"/>
                  </a:lnTo>
                  <a:lnTo>
                    <a:pt x="9" y="19"/>
                  </a:lnTo>
                  <a:lnTo>
                    <a:pt x="9" y="15"/>
                  </a:lnTo>
                  <a:lnTo>
                    <a:pt x="5" y="1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2" name="Freeform 166"/>
            <p:cNvSpPr>
              <a:spLocks noChangeAspect="1"/>
            </p:cNvSpPr>
            <p:nvPr/>
          </p:nvSpPr>
          <p:spPr bwMode="auto">
            <a:xfrm>
              <a:off x="3358" y="2476"/>
              <a:ext cx="30" cy="30"/>
            </a:xfrm>
            <a:custGeom>
              <a:avLst/>
              <a:gdLst>
                <a:gd name="T0" fmla="*/ 496 w 26"/>
                <a:gd name="T1" fmla="*/ 0 h 30"/>
                <a:gd name="T2" fmla="*/ 571 w 26"/>
                <a:gd name="T3" fmla="*/ 11 h 30"/>
                <a:gd name="T4" fmla="*/ 323 w 26"/>
                <a:gd name="T5" fmla="*/ 17 h 30"/>
                <a:gd name="T6" fmla="*/ 323 w 26"/>
                <a:gd name="T7" fmla="*/ 19 h 30"/>
                <a:gd name="T8" fmla="*/ 496 w 26"/>
                <a:gd name="T9" fmla="*/ 17 h 30"/>
                <a:gd name="T10" fmla="*/ 571 w 26"/>
                <a:gd name="T11" fmla="*/ 19 h 30"/>
                <a:gd name="T12" fmla="*/ 496 w 26"/>
                <a:gd name="T13" fmla="*/ 23 h 30"/>
                <a:gd name="T14" fmla="*/ 404 w 26"/>
                <a:gd name="T15" fmla="*/ 30 h 30"/>
                <a:gd name="T16" fmla="*/ 323 w 26"/>
                <a:gd name="T17" fmla="*/ 26 h 30"/>
                <a:gd name="T18" fmla="*/ 77 w 26"/>
                <a:gd name="T19" fmla="*/ 26 h 30"/>
                <a:gd name="T20" fmla="*/ 0 w 26"/>
                <a:gd name="T21" fmla="*/ 17 h 30"/>
                <a:gd name="T22" fmla="*/ 137 w 26"/>
                <a:gd name="T23" fmla="*/ 11 h 30"/>
                <a:gd name="T24" fmla="*/ 210 w 26"/>
                <a:gd name="T25" fmla="*/ 4 h 30"/>
                <a:gd name="T26" fmla="*/ 323 w 26"/>
                <a:gd name="T27" fmla="*/ 2 h 30"/>
                <a:gd name="T28" fmla="*/ 496 w 26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0"/>
                <a:gd name="T47" fmla="*/ 26 w 26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0">
                  <a:moveTo>
                    <a:pt x="23" y="0"/>
                  </a:moveTo>
                  <a:lnTo>
                    <a:pt x="26" y="11"/>
                  </a:lnTo>
                  <a:lnTo>
                    <a:pt x="15" y="17"/>
                  </a:lnTo>
                  <a:lnTo>
                    <a:pt x="15" y="19"/>
                  </a:lnTo>
                  <a:lnTo>
                    <a:pt x="23" y="17"/>
                  </a:lnTo>
                  <a:lnTo>
                    <a:pt x="26" y="19"/>
                  </a:lnTo>
                  <a:lnTo>
                    <a:pt x="23" y="23"/>
                  </a:lnTo>
                  <a:lnTo>
                    <a:pt x="19" y="30"/>
                  </a:lnTo>
                  <a:lnTo>
                    <a:pt x="15" y="26"/>
                  </a:lnTo>
                  <a:lnTo>
                    <a:pt x="4" y="26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10" y="4"/>
                  </a:lnTo>
                  <a:lnTo>
                    <a:pt x="15" y="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3" name="Freeform 167"/>
            <p:cNvSpPr>
              <a:spLocks noChangeAspect="1"/>
            </p:cNvSpPr>
            <p:nvPr/>
          </p:nvSpPr>
          <p:spPr bwMode="auto">
            <a:xfrm>
              <a:off x="2457" y="2506"/>
              <a:ext cx="105" cy="106"/>
            </a:xfrm>
            <a:custGeom>
              <a:avLst/>
              <a:gdLst>
                <a:gd name="T0" fmla="*/ 69 w 95"/>
                <a:gd name="T1" fmla="*/ 9 h 104"/>
                <a:gd name="T2" fmla="*/ 126 w 95"/>
                <a:gd name="T3" fmla="*/ 2 h 104"/>
                <a:gd name="T4" fmla="*/ 147 w 95"/>
                <a:gd name="T5" fmla="*/ 6 h 104"/>
                <a:gd name="T6" fmla="*/ 198 w 95"/>
                <a:gd name="T7" fmla="*/ 9 h 104"/>
                <a:gd name="T8" fmla="*/ 198 w 95"/>
                <a:gd name="T9" fmla="*/ 6 h 104"/>
                <a:gd name="T10" fmla="*/ 219 w 95"/>
                <a:gd name="T11" fmla="*/ 2 h 104"/>
                <a:gd name="T12" fmla="*/ 267 w 95"/>
                <a:gd name="T13" fmla="*/ 0 h 104"/>
                <a:gd name="T14" fmla="*/ 295 w 95"/>
                <a:gd name="T15" fmla="*/ 0 h 104"/>
                <a:gd name="T16" fmla="*/ 311 w 95"/>
                <a:gd name="T17" fmla="*/ 6 h 104"/>
                <a:gd name="T18" fmla="*/ 357 w 95"/>
                <a:gd name="T19" fmla="*/ 6 h 104"/>
                <a:gd name="T20" fmla="*/ 421 w 95"/>
                <a:gd name="T21" fmla="*/ 2 h 104"/>
                <a:gd name="T22" fmla="*/ 421 w 95"/>
                <a:gd name="T23" fmla="*/ 6 h 104"/>
                <a:gd name="T24" fmla="*/ 466 w 95"/>
                <a:gd name="T25" fmla="*/ 9 h 104"/>
                <a:gd name="T26" fmla="*/ 514 w 95"/>
                <a:gd name="T27" fmla="*/ 19 h 104"/>
                <a:gd name="T28" fmla="*/ 578 w 95"/>
                <a:gd name="T29" fmla="*/ 19 h 104"/>
                <a:gd name="T30" fmla="*/ 594 w 95"/>
                <a:gd name="T31" fmla="*/ 11 h 104"/>
                <a:gd name="T32" fmla="*/ 694 w 95"/>
                <a:gd name="T33" fmla="*/ 11 h 104"/>
                <a:gd name="T34" fmla="*/ 780 w 95"/>
                <a:gd name="T35" fmla="*/ 22 h 104"/>
                <a:gd name="T36" fmla="*/ 780 w 95"/>
                <a:gd name="T37" fmla="*/ 24 h 104"/>
                <a:gd name="T38" fmla="*/ 826 w 95"/>
                <a:gd name="T39" fmla="*/ 57 h 104"/>
                <a:gd name="T40" fmla="*/ 826 w 95"/>
                <a:gd name="T41" fmla="*/ 61 h 104"/>
                <a:gd name="T42" fmla="*/ 766 w 95"/>
                <a:gd name="T43" fmla="*/ 65 h 104"/>
                <a:gd name="T44" fmla="*/ 766 w 95"/>
                <a:gd name="T45" fmla="*/ 74 h 104"/>
                <a:gd name="T46" fmla="*/ 706 w 95"/>
                <a:gd name="T47" fmla="*/ 92 h 104"/>
                <a:gd name="T48" fmla="*/ 766 w 95"/>
                <a:gd name="T49" fmla="*/ 120 h 104"/>
                <a:gd name="T50" fmla="*/ 780 w 95"/>
                <a:gd name="T51" fmla="*/ 128 h 104"/>
                <a:gd name="T52" fmla="*/ 780 w 95"/>
                <a:gd name="T53" fmla="*/ 134 h 104"/>
                <a:gd name="T54" fmla="*/ 726 w 95"/>
                <a:gd name="T55" fmla="*/ 131 h 104"/>
                <a:gd name="T56" fmla="*/ 726 w 95"/>
                <a:gd name="T57" fmla="*/ 124 h 104"/>
                <a:gd name="T58" fmla="*/ 706 w 95"/>
                <a:gd name="T59" fmla="*/ 131 h 104"/>
                <a:gd name="T60" fmla="*/ 629 w 95"/>
                <a:gd name="T61" fmla="*/ 128 h 104"/>
                <a:gd name="T62" fmla="*/ 578 w 95"/>
                <a:gd name="T63" fmla="*/ 131 h 104"/>
                <a:gd name="T64" fmla="*/ 421 w 95"/>
                <a:gd name="T65" fmla="*/ 131 h 104"/>
                <a:gd name="T66" fmla="*/ 295 w 95"/>
                <a:gd name="T67" fmla="*/ 134 h 104"/>
                <a:gd name="T68" fmla="*/ 126 w 95"/>
                <a:gd name="T69" fmla="*/ 151 h 104"/>
                <a:gd name="T70" fmla="*/ 93 w 95"/>
                <a:gd name="T71" fmla="*/ 131 h 104"/>
                <a:gd name="T72" fmla="*/ 126 w 95"/>
                <a:gd name="T73" fmla="*/ 120 h 104"/>
                <a:gd name="T74" fmla="*/ 93 w 95"/>
                <a:gd name="T75" fmla="*/ 114 h 104"/>
                <a:gd name="T76" fmla="*/ 69 w 95"/>
                <a:gd name="T77" fmla="*/ 108 h 104"/>
                <a:gd name="T78" fmla="*/ 2 w 95"/>
                <a:gd name="T79" fmla="*/ 108 h 104"/>
                <a:gd name="T80" fmla="*/ 0 w 95"/>
                <a:gd name="T81" fmla="*/ 92 h 104"/>
                <a:gd name="T82" fmla="*/ 0 w 95"/>
                <a:gd name="T83" fmla="*/ 92 h 104"/>
                <a:gd name="T84" fmla="*/ 0 w 95"/>
                <a:gd name="T85" fmla="*/ 78 h 104"/>
                <a:gd name="T86" fmla="*/ 0 w 95"/>
                <a:gd name="T87" fmla="*/ 70 h 104"/>
                <a:gd name="T88" fmla="*/ 2 w 95"/>
                <a:gd name="T89" fmla="*/ 70 h 104"/>
                <a:gd name="T90" fmla="*/ 56 w 95"/>
                <a:gd name="T91" fmla="*/ 61 h 104"/>
                <a:gd name="T92" fmla="*/ 2 w 95"/>
                <a:gd name="T93" fmla="*/ 59 h 104"/>
                <a:gd name="T94" fmla="*/ 56 w 95"/>
                <a:gd name="T95" fmla="*/ 57 h 104"/>
                <a:gd name="T96" fmla="*/ 93 w 95"/>
                <a:gd name="T97" fmla="*/ 57 h 104"/>
                <a:gd name="T98" fmla="*/ 69 w 95"/>
                <a:gd name="T99" fmla="*/ 50 h 104"/>
                <a:gd name="T100" fmla="*/ 69 w 95"/>
                <a:gd name="T101" fmla="*/ 46 h 104"/>
                <a:gd name="T102" fmla="*/ 69 w 95"/>
                <a:gd name="T103" fmla="*/ 22 h 104"/>
                <a:gd name="T104" fmla="*/ 56 w 95"/>
                <a:gd name="T105" fmla="*/ 19 h 104"/>
                <a:gd name="T106" fmla="*/ 56 w 95"/>
                <a:gd name="T107" fmla="*/ 11 h 104"/>
                <a:gd name="T108" fmla="*/ 69 w 95"/>
                <a:gd name="T109" fmla="*/ 9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5"/>
                <a:gd name="T166" fmla="*/ 0 h 104"/>
                <a:gd name="T167" fmla="*/ 95 w 95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5" h="104">
                  <a:moveTo>
                    <a:pt x="8" y="9"/>
                  </a:moveTo>
                  <a:lnTo>
                    <a:pt x="15" y="2"/>
                  </a:lnTo>
                  <a:lnTo>
                    <a:pt x="17" y="6"/>
                  </a:lnTo>
                  <a:lnTo>
                    <a:pt x="23" y="9"/>
                  </a:lnTo>
                  <a:lnTo>
                    <a:pt x="23" y="6"/>
                  </a:lnTo>
                  <a:lnTo>
                    <a:pt x="26" y="2"/>
                  </a:lnTo>
                  <a:lnTo>
                    <a:pt x="30" y="0"/>
                  </a:lnTo>
                  <a:lnTo>
                    <a:pt x="34" y="0"/>
                  </a:lnTo>
                  <a:lnTo>
                    <a:pt x="36" y="6"/>
                  </a:lnTo>
                  <a:lnTo>
                    <a:pt x="41" y="6"/>
                  </a:lnTo>
                  <a:lnTo>
                    <a:pt x="49" y="2"/>
                  </a:lnTo>
                  <a:lnTo>
                    <a:pt x="49" y="6"/>
                  </a:lnTo>
                  <a:lnTo>
                    <a:pt x="54" y="9"/>
                  </a:lnTo>
                  <a:lnTo>
                    <a:pt x="60" y="19"/>
                  </a:lnTo>
                  <a:lnTo>
                    <a:pt x="67" y="19"/>
                  </a:lnTo>
                  <a:lnTo>
                    <a:pt x="69" y="11"/>
                  </a:lnTo>
                  <a:lnTo>
                    <a:pt x="80" y="11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95" y="37"/>
                  </a:lnTo>
                  <a:lnTo>
                    <a:pt x="95" y="41"/>
                  </a:lnTo>
                  <a:lnTo>
                    <a:pt x="88" y="45"/>
                  </a:lnTo>
                  <a:lnTo>
                    <a:pt x="88" y="54"/>
                  </a:lnTo>
                  <a:lnTo>
                    <a:pt x="82" y="65"/>
                  </a:lnTo>
                  <a:lnTo>
                    <a:pt x="88" y="80"/>
                  </a:lnTo>
                  <a:lnTo>
                    <a:pt x="90" y="88"/>
                  </a:lnTo>
                  <a:lnTo>
                    <a:pt x="90" y="93"/>
                  </a:lnTo>
                  <a:lnTo>
                    <a:pt x="84" y="91"/>
                  </a:lnTo>
                  <a:lnTo>
                    <a:pt x="84" y="84"/>
                  </a:lnTo>
                  <a:lnTo>
                    <a:pt x="82" y="91"/>
                  </a:lnTo>
                  <a:lnTo>
                    <a:pt x="73" y="88"/>
                  </a:lnTo>
                  <a:lnTo>
                    <a:pt x="67" y="91"/>
                  </a:lnTo>
                  <a:lnTo>
                    <a:pt x="49" y="91"/>
                  </a:lnTo>
                  <a:lnTo>
                    <a:pt x="34" y="93"/>
                  </a:lnTo>
                  <a:lnTo>
                    <a:pt x="15" y="104"/>
                  </a:lnTo>
                  <a:lnTo>
                    <a:pt x="11" y="91"/>
                  </a:lnTo>
                  <a:lnTo>
                    <a:pt x="15" y="80"/>
                  </a:lnTo>
                  <a:lnTo>
                    <a:pt x="11" y="76"/>
                  </a:lnTo>
                  <a:lnTo>
                    <a:pt x="8" y="73"/>
                  </a:lnTo>
                  <a:lnTo>
                    <a:pt x="2" y="73"/>
                  </a:lnTo>
                  <a:lnTo>
                    <a:pt x="0" y="65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6" y="41"/>
                  </a:lnTo>
                  <a:lnTo>
                    <a:pt x="2" y="39"/>
                  </a:lnTo>
                  <a:lnTo>
                    <a:pt x="6" y="37"/>
                  </a:lnTo>
                  <a:lnTo>
                    <a:pt x="11" y="37"/>
                  </a:lnTo>
                  <a:lnTo>
                    <a:pt x="8" y="30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6" y="19"/>
                  </a:lnTo>
                  <a:lnTo>
                    <a:pt x="6" y="11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4" name="Freeform 168"/>
            <p:cNvSpPr>
              <a:spLocks noChangeAspect="1"/>
            </p:cNvSpPr>
            <p:nvPr/>
          </p:nvSpPr>
          <p:spPr bwMode="auto">
            <a:xfrm>
              <a:off x="2766" y="2646"/>
              <a:ext cx="107" cy="104"/>
            </a:xfrm>
            <a:custGeom>
              <a:avLst/>
              <a:gdLst>
                <a:gd name="T0" fmla="*/ 362 w 97"/>
                <a:gd name="T1" fmla="*/ 2 h 102"/>
                <a:gd name="T2" fmla="*/ 362 w 97"/>
                <a:gd name="T3" fmla="*/ 0 h 102"/>
                <a:gd name="T4" fmla="*/ 470 w 97"/>
                <a:gd name="T5" fmla="*/ 0 h 102"/>
                <a:gd name="T6" fmla="*/ 571 w 97"/>
                <a:gd name="T7" fmla="*/ 0 h 102"/>
                <a:gd name="T8" fmla="*/ 619 w 97"/>
                <a:gd name="T9" fmla="*/ 0 h 102"/>
                <a:gd name="T10" fmla="*/ 636 w 97"/>
                <a:gd name="T11" fmla="*/ 0 h 102"/>
                <a:gd name="T12" fmla="*/ 619 w 97"/>
                <a:gd name="T13" fmla="*/ 7 h 102"/>
                <a:gd name="T14" fmla="*/ 619 w 97"/>
                <a:gd name="T15" fmla="*/ 17 h 102"/>
                <a:gd name="T16" fmla="*/ 675 w 97"/>
                <a:gd name="T17" fmla="*/ 15 h 102"/>
                <a:gd name="T18" fmla="*/ 730 w 97"/>
                <a:gd name="T19" fmla="*/ 15 h 102"/>
                <a:gd name="T20" fmla="*/ 745 w 97"/>
                <a:gd name="T21" fmla="*/ 17 h 102"/>
                <a:gd name="T22" fmla="*/ 772 w 97"/>
                <a:gd name="T23" fmla="*/ 22 h 102"/>
                <a:gd name="T24" fmla="*/ 745 w 97"/>
                <a:gd name="T25" fmla="*/ 46 h 102"/>
                <a:gd name="T26" fmla="*/ 730 w 97"/>
                <a:gd name="T27" fmla="*/ 50 h 102"/>
                <a:gd name="T28" fmla="*/ 730 w 97"/>
                <a:gd name="T29" fmla="*/ 59 h 102"/>
                <a:gd name="T30" fmla="*/ 806 w 97"/>
                <a:gd name="T31" fmla="*/ 65 h 102"/>
                <a:gd name="T32" fmla="*/ 806 w 97"/>
                <a:gd name="T33" fmla="*/ 85 h 102"/>
                <a:gd name="T34" fmla="*/ 772 w 97"/>
                <a:gd name="T35" fmla="*/ 97 h 102"/>
                <a:gd name="T36" fmla="*/ 745 w 97"/>
                <a:gd name="T37" fmla="*/ 105 h 102"/>
                <a:gd name="T38" fmla="*/ 745 w 97"/>
                <a:gd name="T39" fmla="*/ 120 h 102"/>
                <a:gd name="T40" fmla="*/ 730 w 97"/>
                <a:gd name="T41" fmla="*/ 120 h 102"/>
                <a:gd name="T42" fmla="*/ 700 w 97"/>
                <a:gd name="T43" fmla="*/ 105 h 102"/>
                <a:gd name="T44" fmla="*/ 619 w 97"/>
                <a:gd name="T45" fmla="*/ 115 h 102"/>
                <a:gd name="T46" fmla="*/ 522 w 97"/>
                <a:gd name="T47" fmla="*/ 97 h 102"/>
                <a:gd name="T48" fmla="*/ 494 w 97"/>
                <a:gd name="T49" fmla="*/ 115 h 102"/>
                <a:gd name="T50" fmla="*/ 448 w 97"/>
                <a:gd name="T51" fmla="*/ 115 h 102"/>
                <a:gd name="T52" fmla="*/ 417 w 97"/>
                <a:gd name="T53" fmla="*/ 105 h 102"/>
                <a:gd name="T54" fmla="*/ 399 w 97"/>
                <a:gd name="T55" fmla="*/ 122 h 102"/>
                <a:gd name="T56" fmla="*/ 448 w 97"/>
                <a:gd name="T57" fmla="*/ 126 h 102"/>
                <a:gd name="T58" fmla="*/ 448 w 97"/>
                <a:gd name="T59" fmla="*/ 141 h 102"/>
                <a:gd name="T60" fmla="*/ 417 w 97"/>
                <a:gd name="T61" fmla="*/ 141 h 102"/>
                <a:gd name="T62" fmla="*/ 399 w 97"/>
                <a:gd name="T63" fmla="*/ 138 h 102"/>
                <a:gd name="T64" fmla="*/ 362 w 97"/>
                <a:gd name="T65" fmla="*/ 141 h 102"/>
                <a:gd name="T66" fmla="*/ 320 w 97"/>
                <a:gd name="T67" fmla="*/ 149 h 102"/>
                <a:gd name="T68" fmla="*/ 200 w 97"/>
                <a:gd name="T69" fmla="*/ 126 h 102"/>
                <a:gd name="T70" fmla="*/ 149 w 97"/>
                <a:gd name="T71" fmla="*/ 120 h 102"/>
                <a:gd name="T72" fmla="*/ 200 w 97"/>
                <a:gd name="T73" fmla="*/ 122 h 102"/>
                <a:gd name="T74" fmla="*/ 200 w 97"/>
                <a:gd name="T75" fmla="*/ 120 h 102"/>
                <a:gd name="T76" fmla="*/ 111 w 97"/>
                <a:gd name="T77" fmla="*/ 115 h 102"/>
                <a:gd name="T78" fmla="*/ 75 w 97"/>
                <a:gd name="T79" fmla="*/ 101 h 102"/>
                <a:gd name="T80" fmla="*/ 111 w 97"/>
                <a:gd name="T81" fmla="*/ 101 h 102"/>
                <a:gd name="T82" fmla="*/ 75 w 97"/>
                <a:gd name="T83" fmla="*/ 97 h 102"/>
                <a:gd name="T84" fmla="*/ 111 w 97"/>
                <a:gd name="T85" fmla="*/ 89 h 102"/>
                <a:gd name="T86" fmla="*/ 75 w 97"/>
                <a:gd name="T87" fmla="*/ 85 h 102"/>
                <a:gd name="T88" fmla="*/ 75 w 97"/>
                <a:gd name="T89" fmla="*/ 89 h 102"/>
                <a:gd name="T90" fmla="*/ 42 w 97"/>
                <a:gd name="T91" fmla="*/ 74 h 102"/>
                <a:gd name="T92" fmla="*/ 0 w 97"/>
                <a:gd name="T93" fmla="*/ 68 h 102"/>
                <a:gd name="T94" fmla="*/ 75 w 97"/>
                <a:gd name="T95" fmla="*/ 68 h 102"/>
                <a:gd name="T96" fmla="*/ 75 w 97"/>
                <a:gd name="T97" fmla="*/ 57 h 102"/>
                <a:gd name="T98" fmla="*/ 111 w 97"/>
                <a:gd name="T99" fmla="*/ 59 h 102"/>
                <a:gd name="T100" fmla="*/ 169 w 97"/>
                <a:gd name="T101" fmla="*/ 57 h 102"/>
                <a:gd name="T102" fmla="*/ 75 w 97"/>
                <a:gd name="T103" fmla="*/ 52 h 102"/>
                <a:gd name="T104" fmla="*/ 75 w 97"/>
                <a:gd name="T105" fmla="*/ 46 h 102"/>
                <a:gd name="T106" fmla="*/ 111 w 97"/>
                <a:gd name="T107" fmla="*/ 46 h 102"/>
                <a:gd name="T108" fmla="*/ 111 w 97"/>
                <a:gd name="T109" fmla="*/ 22 h 102"/>
                <a:gd name="T110" fmla="*/ 214 w 97"/>
                <a:gd name="T111" fmla="*/ 22 h 102"/>
                <a:gd name="T112" fmla="*/ 290 w 97"/>
                <a:gd name="T113" fmla="*/ 22 h 102"/>
                <a:gd name="T114" fmla="*/ 362 w 97"/>
                <a:gd name="T115" fmla="*/ 22 h 102"/>
                <a:gd name="T116" fmla="*/ 362 w 97"/>
                <a:gd name="T117" fmla="*/ 2 h 1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02"/>
                <a:gd name="T179" fmla="*/ 97 w 97"/>
                <a:gd name="T180" fmla="*/ 102 h 1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02">
                  <a:moveTo>
                    <a:pt x="43" y="2"/>
                  </a:moveTo>
                  <a:lnTo>
                    <a:pt x="43" y="0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74" y="7"/>
                  </a:lnTo>
                  <a:lnTo>
                    <a:pt x="74" y="17"/>
                  </a:lnTo>
                  <a:lnTo>
                    <a:pt x="80" y="15"/>
                  </a:lnTo>
                  <a:lnTo>
                    <a:pt x="87" y="15"/>
                  </a:lnTo>
                  <a:lnTo>
                    <a:pt x="89" y="17"/>
                  </a:lnTo>
                  <a:lnTo>
                    <a:pt x="93" y="22"/>
                  </a:lnTo>
                  <a:lnTo>
                    <a:pt x="89" y="26"/>
                  </a:lnTo>
                  <a:lnTo>
                    <a:pt x="87" y="30"/>
                  </a:lnTo>
                  <a:lnTo>
                    <a:pt x="87" y="39"/>
                  </a:lnTo>
                  <a:lnTo>
                    <a:pt x="97" y="45"/>
                  </a:lnTo>
                  <a:lnTo>
                    <a:pt x="97" y="61"/>
                  </a:lnTo>
                  <a:lnTo>
                    <a:pt x="93" y="67"/>
                  </a:lnTo>
                  <a:lnTo>
                    <a:pt x="89" y="71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4" y="71"/>
                  </a:lnTo>
                  <a:lnTo>
                    <a:pt x="74" y="76"/>
                  </a:lnTo>
                  <a:lnTo>
                    <a:pt x="63" y="67"/>
                  </a:lnTo>
                  <a:lnTo>
                    <a:pt x="59" y="76"/>
                  </a:lnTo>
                  <a:lnTo>
                    <a:pt x="54" y="76"/>
                  </a:lnTo>
                  <a:lnTo>
                    <a:pt x="50" y="71"/>
                  </a:lnTo>
                  <a:lnTo>
                    <a:pt x="48" y="82"/>
                  </a:lnTo>
                  <a:lnTo>
                    <a:pt x="54" y="86"/>
                  </a:lnTo>
                  <a:lnTo>
                    <a:pt x="54" y="97"/>
                  </a:lnTo>
                  <a:lnTo>
                    <a:pt x="50" y="97"/>
                  </a:lnTo>
                  <a:lnTo>
                    <a:pt x="48" y="95"/>
                  </a:lnTo>
                  <a:lnTo>
                    <a:pt x="43" y="97"/>
                  </a:lnTo>
                  <a:lnTo>
                    <a:pt x="39" y="102"/>
                  </a:lnTo>
                  <a:lnTo>
                    <a:pt x="24" y="86"/>
                  </a:lnTo>
                  <a:lnTo>
                    <a:pt x="18" y="80"/>
                  </a:lnTo>
                  <a:lnTo>
                    <a:pt x="24" y="82"/>
                  </a:lnTo>
                  <a:lnTo>
                    <a:pt x="24" y="80"/>
                  </a:lnTo>
                  <a:lnTo>
                    <a:pt x="13" y="76"/>
                  </a:lnTo>
                  <a:lnTo>
                    <a:pt x="9" y="69"/>
                  </a:lnTo>
                  <a:lnTo>
                    <a:pt x="13" y="69"/>
                  </a:lnTo>
                  <a:lnTo>
                    <a:pt x="9" y="67"/>
                  </a:lnTo>
                  <a:lnTo>
                    <a:pt x="13" y="63"/>
                  </a:lnTo>
                  <a:lnTo>
                    <a:pt x="9" y="61"/>
                  </a:lnTo>
                  <a:lnTo>
                    <a:pt x="9" y="63"/>
                  </a:lnTo>
                  <a:lnTo>
                    <a:pt x="5" y="54"/>
                  </a:lnTo>
                  <a:lnTo>
                    <a:pt x="0" y="48"/>
                  </a:lnTo>
                  <a:lnTo>
                    <a:pt x="9" y="48"/>
                  </a:lnTo>
                  <a:lnTo>
                    <a:pt x="9" y="37"/>
                  </a:lnTo>
                  <a:lnTo>
                    <a:pt x="13" y="39"/>
                  </a:lnTo>
                  <a:lnTo>
                    <a:pt x="20" y="37"/>
                  </a:lnTo>
                  <a:lnTo>
                    <a:pt x="9" y="32"/>
                  </a:lnTo>
                  <a:lnTo>
                    <a:pt x="9" y="26"/>
                  </a:lnTo>
                  <a:lnTo>
                    <a:pt x="13" y="26"/>
                  </a:lnTo>
                  <a:lnTo>
                    <a:pt x="13" y="22"/>
                  </a:lnTo>
                  <a:lnTo>
                    <a:pt x="26" y="22"/>
                  </a:lnTo>
                  <a:lnTo>
                    <a:pt x="35" y="22"/>
                  </a:lnTo>
                  <a:lnTo>
                    <a:pt x="43" y="22"/>
                  </a:lnTo>
                  <a:lnTo>
                    <a:pt x="43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5" name="Freeform 169"/>
            <p:cNvSpPr>
              <a:spLocks noChangeAspect="1"/>
            </p:cNvSpPr>
            <p:nvPr/>
          </p:nvSpPr>
          <p:spPr bwMode="auto">
            <a:xfrm>
              <a:off x="2301" y="2451"/>
              <a:ext cx="60" cy="13"/>
            </a:xfrm>
            <a:custGeom>
              <a:avLst/>
              <a:gdLst>
                <a:gd name="T0" fmla="*/ 46 w 54"/>
                <a:gd name="T1" fmla="*/ 4 h 13"/>
                <a:gd name="T2" fmla="*/ 210 w 54"/>
                <a:gd name="T3" fmla="*/ 0 h 13"/>
                <a:gd name="T4" fmla="*/ 346 w 54"/>
                <a:gd name="T5" fmla="*/ 0 h 13"/>
                <a:gd name="T6" fmla="*/ 427 w 54"/>
                <a:gd name="T7" fmla="*/ 4 h 13"/>
                <a:gd name="T8" fmla="*/ 527 w 54"/>
                <a:gd name="T9" fmla="*/ 4 h 13"/>
                <a:gd name="T10" fmla="*/ 447 w 54"/>
                <a:gd name="T11" fmla="*/ 9 h 13"/>
                <a:gd name="T12" fmla="*/ 308 w 54"/>
                <a:gd name="T13" fmla="*/ 4 h 13"/>
                <a:gd name="T14" fmla="*/ 227 w 54"/>
                <a:gd name="T15" fmla="*/ 6 h 13"/>
                <a:gd name="T16" fmla="*/ 202 w 54"/>
                <a:gd name="T17" fmla="*/ 6 h 13"/>
                <a:gd name="T18" fmla="*/ 202 w 54"/>
                <a:gd name="T19" fmla="*/ 9 h 13"/>
                <a:gd name="T20" fmla="*/ 0 w 54"/>
                <a:gd name="T21" fmla="*/ 13 h 13"/>
                <a:gd name="T22" fmla="*/ 0 w 54"/>
                <a:gd name="T23" fmla="*/ 9 h 13"/>
                <a:gd name="T24" fmla="*/ 46 w 54"/>
                <a:gd name="T25" fmla="*/ 6 h 13"/>
                <a:gd name="T26" fmla="*/ 46 w 54"/>
                <a:gd name="T27" fmla="*/ 4 h 1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4"/>
                <a:gd name="T43" fmla="*/ 0 h 13"/>
                <a:gd name="T44" fmla="*/ 54 w 54"/>
                <a:gd name="T45" fmla="*/ 13 h 1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4" h="13">
                  <a:moveTo>
                    <a:pt x="5" y="4"/>
                  </a:moveTo>
                  <a:lnTo>
                    <a:pt x="22" y="0"/>
                  </a:lnTo>
                  <a:lnTo>
                    <a:pt x="35" y="0"/>
                  </a:lnTo>
                  <a:lnTo>
                    <a:pt x="44" y="4"/>
                  </a:lnTo>
                  <a:lnTo>
                    <a:pt x="54" y="4"/>
                  </a:lnTo>
                  <a:lnTo>
                    <a:pt x="46" y="9"/>
                  </a:lnTo>
                  <a:lnTo>
                    <a:pt x="31" y="4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20" y="9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6" name="Freeform 170"/>
            <p:cNvSpPr>
              <a:spLocks noChangeAspect="1"/>
            </p:cNvSpPr>
            <p:nvPr/>
          </p:nvSpPr>
          <p:spPr bwMode="auto">
            <a:xfrm>
              <a:off x="2546" y="2499"/>
              <a:ext cx="82" cy="104"/>
            </a:xfrm>
            <a:custGeom>
              <a:avLst/>
              <a:gdLst>
                <a:gd name="T0" fmla="*/ 67 w 75"/>
                <a:gd name="T1" fmla="*/ 46 h 102"/>
                <a:gd name="T2" fmla="*/ 67 w 75"/>
                <a:gd name="T3" fmla="*/ 18 h 102"/>
                <a:gd name="T4" fmla="*/ 56 w 75"/>
                <a:gd name="T5" fmla="*/ 7 h 102"/>
                <a:gd name="T6" fmla="*/ 67 w 75"/>
                <a:gd name="T7" fmla="*/ 0 h 102"/>
                <a:gd name="T8" fmla="*/ 333 w 75"/>
                <a:gd name="T9" fmla="*/ 3 h 102"/>
                <a:gd name="T10" fmla="*/ 337 w 75"/>
                <a:gd name="T11" fmla="*/ 0 h 102"/>
                <a:gd name="T12" fmla="*/ 387 w 75"/>
                <a:gd name="T13" fmla="*/ 0 h 102"/>
                <a:gd name="T14" fmla="*/ 418 w 75"/>
                <a:gd name="T15" fmla="*/ 3 h 102"/>
                <a:gd name="T16" fmla="*/ 387 w 75"/>
                <a:gd name="T17" fmla="*/ 7 h 102"/>
                <a:gd name="T18" fmla="*/ 446 w 75"/>
                <a:gd name="T19" fmla="*/ 11 h 102"/>
                <a:gd name="T20" fmla="*/ 446 w 75"/>
                <a:gd name="T21" fmla="*/ 18 h 102"/>
                <a:gd name="T22" fmla="*/ 418 w 75"/>
                <a:gd name="T23" fmla="*/ 24 h 102"/>
                <a:gd name="T24" fmla="*/ 446 w 75"/>
                <a:gd name="T25" fmla="*/ 46 h 102"/>
                <a:gd name="T26" fmla="*/ 446 w 75"/>
                <a:gd name="T27" fmla="*/ 53 h 102"/>
                <a:gd name="T28" fmla="*/ 446 w 75"/>
                <a:gd name="T29" fmla="*/ 57 h 102"/>
                <a:gd name="T30" fmla="*/ 481 w 75"/>
                <a:gd name="T31" fmla="*/ 61 h 102"/>
                <a:gd name="T32" fmla="*/ 446 w 75"/>
                <a:gd name="T33" fmla="*/ 68 h 102"/>
                <a:gd name="T34" fmla="*/ 446 w 75"/>
                <a:gd name="T35" fmla="*/ 74 h 102"/>
                <a:gd name="T36" fmla="*/ 446 w 75"/>
                <a:gd name="T37" fmla="*/ 93 h 102"/>
                <a:gd name="T38" fmla="*/ 481 w 75"/>
                <a:gd name="T39" fmla="*/ 115 h 102"/>
                <a:gd name="T40" fmla="*/ 523 w 75"/>
                <a:gd name="T41" fmla="*/ 123 h 102"/>
                <a:gd name="T42" fmla="*/ 505 w 75"/>
                <a:gd name="T43" fmla="*/ 127 h 102"/>
                <a:gd name="T44" fmla="*/ 418 w 75"/>
                <a:gd name="T45" fmla="*/ 129 h 102"/>
                <a:gd name="T46" fmla="*/ 337 w 75"/>
                <a:gd name="T47" fmla="*/ 132 h 102"/>
                <a:gd name="T48" fmla="*/ 233 w 75"/>
                <a:gd name="T49" fmla="*/ 143 h 102"/>
                <a:gd name="T50" fmla="*/ 164 w 75"/>
                <a:gd name="T51" fmla="*/ 149 h 102"/>
                <a:gd name="T52" fmla="*/ 67 w 75"/>
                <a:gd name="T53" fmla="*/ 149 h 102"/>
                <a:gd name="T54" fmla="*/ 67 w 75"/>
                <a:gd name="T55" fmla="*/ 138 h 102"/>
                <a:gd name="T56" fmla="*/ 56 w 75"/>
                <a:gd name="T57" fmla="*/ 127 h 102"/>
                <a:gd name="T58" fmla="*/ 0 w 75"/>
                <a:gd name="T59" fmla="*/ 107 h 102"/>
                <a:gd name="T60" fmla="*/ 56 w 75"/>
                <a:gd name="T61" fmla="*/ 85 h 102"/>
                <a:gd name="T62" fmla="*/ 56 w 75"/>
                <a:gd name="T63" fmla="*/ 72 h 102"/>
                <a:gd name="T64" fmla="*/ 87 w 75"/>
                <a:gd name="T65" fmla="*/ 68 h 102"/>
                <a:gd name="T66" fmla="*/ 87 w 75"/>
                <a:gd name="T67" fmla="*/ 61 h 102"/>
                <a:gd name="T68" fmla="*/ 67 w 75"/>
                <a:gd name="T69" fmla="*/ 51 h 102"/>
                <a:gd name="T70" fmla="*/ 67 w 75"/>
                <a:gd name="T71" fmla="*/ 46 h 10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5"/>
                <a:gd name="T109" fmla="*/ 0 h 102"/>
                <a:gd name="T110" fmla="*/ 75 w 75"/>
                <a:gd name="T111" fmla="*/ 102 h 10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5" h="102">
                  <a:moveTo>
                    <a:pt x="10" y="26"/>
                  </a:moveTo>
                  <a:lnTo>
                    <a:pt x="10" y="18"/>
                  </a:lnTo>
                  <a:lnTo>
                    <a:pt x="8" y="7"/>
                  </a:lnTo>
                  <a:lnTo>
                    <a:pt x="10" y="0"/>
                  </a:lnTo>
                  <a:lnTo>
                    <a:pt x="47" y="3"/>
                  </a:lnTo>
                  <a:lnTo>
                    <a:pt x="49" y="0"/>
                  </a:lnTo>
                  <a:lnTo>
                    <a:pt x="56" y="0"/>
                  </a:lnTo>
                  <a:lnTo>
                    <a:pt x="60" y="3"/>
                  </a:lnTo>
                  <a:lnTo>
                    <a:pt x="56" y="7"/>
                  </a:lnTo>
                  <a:lnTo>
                    <a:pt x="64" y="11"/>
                  </a:lnTo>
                  <a:lnTo>
                    <a:pt x="64" y="18"/>
                  </a:lnTo>
                  <a:lnTo>
                    <a:pt x="60" y="24"/>
                  </a:lnTo>
                  <a:lnTo>
                    <a:pt x="64" y="26"/>
                  </a:lnTo>
                  <a:lnTo>
                    <a:pt x="64" y="33"/>
                  </a:lnTo>
                  <a:lnTo>
                    <a:pt x="64" y="37"/>
                  </a:lnTo>
                  <a:lnTo>
                    <a:pt x="69" y="41"/>
                  </a:lnTo>
                  <a:lnTo>
                    <a:pt x="64" y="48"/>
                  </a:lnTo>
                  <a:lnTo>
                    <a:pt x="64" y="54"/>
                  </a:lnTo>
                  <a:lnTo>
                    <a:pt x="64" y="65"/>
                  </a:lnTo>
                  <a:lnTo>
                    <a:pt x="69" y="76"/>
                  </a:lnTo>
                  <a:lnTo>
                    <a:pt x="75" y="83"/>
                  </a:lnTo>
                  <a:lnTo>
                    <a:pt x="73" y="87"/>
                  </a:lnTo>
                  <a:lnTo>
                    <a:pt x="60" y="89"/>
                  </a:lnTo>
                  <a:lnTo>
                    <a:pt x="49" y="91"/>
                  </a:lnTo>
                  <a:lnTo>
                    <a:pt x="32" y="98"/>
                  </a:lnTo>
                  <a:lnTo>
                    <a:pt x="23" y="102"/>
                  </a:lnTo>
                  <a:lnTo>
                    <a:pt x="10" y="102"/>
                  </a:lnTo>
                  <a:lnTo>
                    <a:pt x="10" y="95"/>
                  </a:lnTo>
                  <a:lnTo>
                    <a:pt x="8" y="87"/>
                  </a:lnTo>
                  <a:lnTo>
                    <a:pt x="0" y="72"/>
                  </a:lnTo>
                  <a:lnTo>
                    <a:pt x="8" y="61"/>
                  </a:lnTo>
                  <a:lnTo>
                    <a:pt x="8" y="52"/>
                  </a:lnTo>
                  <a:lnTo>
                    <a:pt x="13" y="48"/>
                  </a:lnTo>
                  <a:lnTo>
                    <a:pt x="13" y="41"/>
                  </a:lnTo>
                  <a:lnTo>
                    <a:pt x="10" y="31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7" name="Freeform 171"/>
            <p:cNvSpPr>
              <a:spLocks noChangeAspect="1"/>
            </p:cNvSpPr>
            <p:nvPr/>
          </p:nvSpPr>
          <p:spPr bwMode="auto">
            <a:xfrm>
              <a:off x="2336" y="2471"/>
              <a:ext cx="133" cy="90"/>
            </a:xfrm>
            <a:custGeom>
              <a:avLst/>
              <a:gdLst>
                <a:gd name="T0" fmla="*/ 179 w 121"/>
                <a:gd name="T1" fmla="*/ 0 h 89"/>
                <a:gd name="T2" fmla="*/ 263 w 121"/>
                <a:gd name="T3" fmla="*/ 0 h 89"/>
                <a:gd name="T4" fmla="*/ 263 w 121"/>
                <a:gd name="T5" fmla="*/ 5 h 89"/>
                <a:gd name="T6" fmla="*/ 339 w 121"/>
                <a:gd name="T7" fmla="*/ 7 h 89"/>
                <a:gd name="T8" fmla="*/ 378 w 121"/>
                <a:gd name="T9" fmla="*/ 5 h 89"/>
                <a:gd name="T10" fmla="*/ 415 w 121"/>
                <a:gd name="T11" fmla="*/ 5 h 89"/>
                <a:gd name="T12" fmla="*/ 490 w 121"/>
                <a:gd name="T13" fmla="*/ 5 h 89"/>
                <a:gd name="T14" fmla="*/ 490 w 121"/>
                <a:gd name="T15" fmla="*/ 7 h 89"/>
                <a:gd name="T16" fmla="*/ 496 w 121"/>
                <a:gd name="T17" fmla="*/ 9 h 89"/>
                <a:gd name="T18" fmla="*/ 540 w 121"/>
                <a:gd name="T19" fmla="*/ 9 h 89"/>
                <a:gd name="T20" fmla="*/ 565 w 121"/>
                <a:gd name="T21" fmla="*/ 16 h 89"/>
                <a:gd name="T22" fmla="*/ 658 w 121"/>
                <a:gd name="T23" fmla="*/ 9 h 89"/>
                <a:gd name="T24" fmla="*/ 680 w 121"/>
                <a:gd name="T25" fmla="*/ 9 h 89"/>
                <a:gd name="T26" fmla="*/ 718 w 121"/>
                <a:gd name="T27" fmla="*/ 7 h 89"/>
                <a:gd name="T28" fmla="*/ 746 w 121"/>
                <a:gd name="T29" fmla="*/ 5 h 89"/>
                <a:gd name="T30" fmla="*/ 797 w 121"/>
                <a:gd name="T31" fmla="*/ 16 h 89"/>
                <a:gd name="T32" fmla="*/ 797 w 121"/>
                <a:gd name="T33" fmla="*/ 20 h 89"/>
                <a:gd name="T34" fmla="*/ 856 w 121"/>
                <a:gd name="T35" fmla="*/ 22 h 89"/>
                <a:gd name="T36" fmla="*/ 856 w 121"/>
                <a:gd name="T37" fmla="*/ 28 h 89"/>
                <a:gd name="T38" fmla="*/ 856 w 121"/>
                <a:gd name="T39" fmla="*/ 31 h 89"/>
                <a:gd name="T40" fmla="*/ 856 w 121"/>
                <a:gd name="T41" fmla="*/ 35 h 89"/>
                <a:gd name="T42" fmla="*/ 919 w 121"/>
                <a:gd name="T43" fmla="*/ 44 h 89"/>
                <a:gd name="T44" fmla="*/ 876 w 121"/>
                <a:gd name="T45" fmla="*/ 66 h 89"/>
                <a:gd name="T46" fmla="*/ 876 w 121"/>
                <a:gd name="T47" fmla="*/ 72 h 89"/>
                <a:gd name="T48" fmla="*/ 919 w 121"/>
                <a:gd name="T49" fmla="*/ 74 h 89"/>
                <a:gd name="T50" fmla="*/ 919 w 121"/>
                <a:gd name="T51" fmla="*/ 81 h 89"/>
                <a:gd name="T52" fmla="*/ 919 w 121"/>
                <a:gd name="T53" fmla="*/ 85 h 89"/>
                <a:gd name="T54" fmla="*/ 941 w 121"/>
                <a:gd name="T55" fmla="*/ 89 h 89"/>
                <a:gd name="T56" fmla="*/ 876 w 121"/>
                <a:gd name="T57" fmla="*/ 89 h 89"/>
                <a:gd name="T58" fmla="*/ 856 w 121"/>
                <a:gd name="T59" fmla="*/ 94 h 89"/>
                <a:gd name="T60" fmla="*/ 876 w 121"/>
                <a:gd name="T61" fmla="*/ 96 h 89"/>
                <a:gd name="T62" fmla="*/ 856 w 121"/>
                <a:gd name="T63" fmla="*/ 105 h 89"/>
                <a:gd name="T64" fmla="*/ 856 w 121"/>
                <a:gd name="T65" fmla="*/ 105 h 89"/>
                <a:gd name="T66" fmla="*/ 797 w 121"/>
                <a:gd name="T67" fmla="*/ 102 h 89"/>
                <a:gd name="T68" fmla="*/ 797 w 121"/>
                <a:gd name="T69" fmla="*/ 109 h 89"/>
                <a:gd name="T70" fmla="*/ 746 w 121"/>
                <a:gd name="T71" fmla="*/ 109 h 89"/>
                <a:gd name="T72" fmla="*/ 680 w 121"/>
                <a:gd name="T73" fmla="*/ 109 h 89"/>
                <a:gd name="T74" fmla="*/ 680 w 121"/>
                <a:gd name="T75" fmla="*/ 98 h 89"/>
                <a:gd name="T76" fmla="*/ 666 w 121"/>
                <a:gd name="T77" fmla="*/ 89 h 89"/>
                <a:gd name="T78" fmla="*/ 599 w 121"/>
                <a:gd name="T79" fmla="*/ 89 h 89"/>
                <a:gd name="T80" fmla="*/ 546 w 121"/>
                <a:gd name="T81" fmla="*/ 89 h 89"/>
                <a:gd name="T82" fmla="*/ 546 w 121"/>
                <a:gd name="T83" fmla="*/ 81 h 89"/>
                <a:gd name="T84" fmla="*/ 540 w 121"/>
                <a:gd name="T85" fmla="*/ 79 h 89"/>
                <a:gd name="T86" fmla="*/ 540 w 121"/>
                <a:gd name="T87" fmla="*/ 72 h 89"/>
                <a:gd name="T88" fmla="*/ 490 w 121"/>
                <a:gd name="T89" fmla="*/ 44 h 89"/>
                <a:gd name="T90" fmla="*/ 350 w 121"/>
                <a:gd name="T91" fmla="*/ 66 h 89"/>
                <a:gd name="T92" fmla="*/ 339 w 121"/>
                <a:gd name="T93" fmla="*/ 66 h 89"/>
                <a:gd name="T94" fmla="*/ 292 w 121"/>
                <a:gd name="T95" fmla="*/ 74 h 89"/>
                <a:gd name="T96" fmla="*/ 263 w 121"/>
                <a:gd name="T97" fmla="*/ 74 h 89"/>
                <a:gd name="T98" fmla="*/ 211 w 121"/>
                <a:gd name="T99" fmla="*/ 81 h 89"/>
                <a:gd name="T100" fmla="*/ 179 w 121"/>
                <a:gd name="T101" fmla="*/ 74 h 89"/>
                <a:gd name="T102" fmla="*/ 179 w 121"/>
                <a:gd name="T103" fmla="*/ 70 h 89"/>
                <a:gd name="T104" fmla="*/ 62 w 121"/>
                <a:gd name="T105" fmla="*/ 39 h 89"/>
                <a:gd name="T106" fmla="*/ 42 w 121"/>
                <a:gd name="T107" fmla="*/ 35 h 89"/>
                <a:gd name="T108" fmla="*/ 0 w 121"/>
                <a:gd name="T109" fmla="*/ 31 h 89"/>
                <a:gd name="T110" fmla="*/ 42 w 121"/>
                <a:gd name="T111" fmla="*/ 22 h 89"/>
                <a:gd name="T112" fmla="*/ 148 w 121"/>
                <a:gd name="T113" fmla="*/ 16 h 89"/>
                <a:gd name="T114" fmla="*/ 179 w 121"/>
                <a:gd name="T115" fmla="*/ 9 h 89"/>
                <a:gd name="T116" fmla="*/ 148 w 121"/>
                <a:gd name="T117" fmla="*/ 7 h 89"/>
                <a:gd name="T118" fmla="*/ 179 w 121"/>
                <a:gd name="T119" fmla="*/ 5 h 89"/>
                <a:gd name="T120" fmla="*/ 179 w 121"/>
                <a:gd name="T121" fmla="*/ 0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1"/>
                <a:gd name="T184" fmla="*/ 0 h 89"/>
                <a:gd name="T185" fmla="*/ 121 w 121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1" h="89">
                  <a:moveTo>
                    <a:pt x="23" y="0"/>
                  </a:moveTo>
                  <a:lnTo>
                    <a:pt x="34" y="0"/>
                  </a:lnTo>
                  <a:lnTo>
                    <a:pt x="34" y="5"/>
                  </a:lnTo>
                  <a:lnTo>
                    <a:pt x="43" y="7"/>
                  </a:lnTo>
                  <a:lnTo>
                    <a:pt x="49" y="5"/>
                  </a:lnTo>
                  <a:lnTo>
                    <a:pt x="54" y="5"/>
                  </a:lnTo>
                  <a:lnTo>
                    <a:pt x="62" y="5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9" y="9"/>
                  </a:lnTo>
                  <a:lnTo>
                    <a:pt x="73" y="16"/>
                  </a:lnTo>
                  <a:lnTo>
                    <a:pt x="84" y="9"/>
                  </a:lnTo>
                  <a:lnTo>
                    <a:pt x="88" y="9"/>
                  </a:lnTo>
                  <a:lnTo>
                    <a:pt x="92" y="7"/>
                  </a:lnTo>
                  <a:lnTo>
                    <a:pt x="95" y="5"/>
                  </a:lnTo>
                  <a:lnTo>
                    <a:pt x="103" y="16"/>
                  </a:lnTo>
                  <a:lnTo>
                    <a:pt x="103" y="20"/>
                  </a:lnTo>
                  <a:lnTo>
                    <a:pt x="110" y="22"/>
                  </a:lnTo>
                  <a:lnTo>
                    <a:pt x="110" y="28"/>
                  </a:lnTo>
                  <a:lnTo>
                    <a:pt x="110" y="31"/>
                  </a:lnTo>
                  <a:lnTo>
                    <a:pt x="110" y="35"/>
                  </a:lnTo>
                  <a:lnTo>
                    <a:pt x="118" y="44"/>
                  </a:lnTo>
                  <a:lnTo>
                    <a:pt x="114" y="46"/>
                  </a:lnTo>
                  <a:lnTo>
                    <a:pt x="114" y="52"/>
                  </a:lnTo>
                  <a:lnTo>
                    <a:pt x="118" y="54"/>
                  </a:lnTo>
                  <a:lnTo>
                    <a:pt x="118" y="61"/>
                  </a:lnTo>
                  <a:lnTo>
                    <a:pt x="118" y="65"/>
                  </a:lnTo>
                  <a:lnTo>
                    <a:pt x="121" y="69"/>
                  </a:lnTo>
                  <a:lnTo>
                    <a:pt x="114" y="69"/>
                  </a:lnTo>
                  <a:lnTo>
                    <a:pt x="110" y="74"/>
                  </a:lnTo>
                  <a:lnTo>
                    <a:pt x="114" y="76"/>
                  </a:lnTo>
                  <a:lnTo>
                    <a:pt x="110" y="85"/>
                  </a:lnTo>
                  <a:lnTo>
                    <a:pt x="103" y="82"/>
                  </a:lnTo>
                  <a:lnTo>
                    <a:pt x="103" y="89"/>
                  </a:lnTo>
                  <a:lnTo>
                    <a:pt x="95" y="89"/>
                  </a:lnTo>
                  <a:lnTo>
                    <a:pt x="88" y="89"/>
                  </a:lnTo>
                  <a:lnTo>
                    <a:pt x="88" y="78"/>
                  </a:lnTo>
                  <a:lnTo>
                    <a:pt x="86" y="69"/>
                  </a:lnTo>
                  <a:lnTo>
                    <a:pt x="77" y="69"/>
                  </a:lnTo>
                  <a:lnTo>
                    <a:pt x="71" y="69"/>
                  </a:lnTo>
                  <a:lnTo>
                    <a:pt x="71" y="61"/>
                  </a:lnTo>
                  <a:lnTo>
                    <a:pt x="69" y="59"/>
                  </a:lnTo>
                  <a:lnTo>
                    <a:pt x="69" y="52"/>
                  </a:lnTo>
                  <a:lnTo>
                    <a:pt x="62" y="44"/>
                  </a:lnTo>
                  <a:lnTo>
                    <a:pt x="45" y="46"/>
                  </a:lnTo>
                  <a:lnTo>
                    <a:pt x="43" y="46"/>
                  </a:lnTo>
                  <a:lnTo>
                    <a:pt x="39" y="54"/>
                  </a:lnTo>
                  <a:lnTo>
                    <a:pt x="34" y="54"/>
                  </a:lnTo>
                  <a:lnTo>
                    <a:pt x="28" y="61"/>
                  </a:lnTo>
                  <a:lnTo>
                    <a:pt x="23" y="54"/>
                  </a:lnTo>
                  <a:lnTo>
                    <a:pt x="23" y="50"/>
                  </a:lnTo>
                  <a:lnTo>
                    <a:pt x="8" y="39"/>
                  </a:lnTo>
                  <a:lnTo>
                    <a:pt x="6" y="35"/>
                  </a:lnTo>
                  <a:lnTo>
                    <a:pt x="0" y="31"/>
                  </a:lnTo>
                  <a:lnTo>
                    <a:pt x="6" y="22"/>
                  </a:lnTo>
                  <a:lnTo>
                    <a:pt x="19" y="16"/>
                  </a:lnTo>
                  <a:lnTo>
                    <a:pt x="23" y="9"/>
                  </a:lnTo>
                  <a:lnTo>
                    <a:pt x="19" y="7"/>
                  </a:lnTo>
                  <a:lnTo>
                    <a:pt x="23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8" name="Freeform 172"/>
            <p:cNvSpPr>
              <a:spLocks noChangeAspect="1"/>
            </p:cNvSpPr>
            <p:nvPr/>
          </p:nvSpPr>
          <p:spPr bwMode="auto">
            <a:xfrm>
              <a:off x="2308" y="2471"/>
              <a:ext cx="53" cy="31"/>
            </a:xfrm>
            <a:custGeom>
              <a:avLst/>
              <a:gdLst>
                <a:gd name="T0" fmla="*/ 0 w 49"/>
                <a:gd name="T1" fmla="*/ 7 h 31"/>
                <a:gd name="T2" fmla="*/ 59 w 49"/>
                <a:gd name="T3" fmla="*/ 5 h 31"/>
                <a:gd name="T4" fmla="*/ 95 w 49"/>
                <a:gd name="T5" fmla="*/ 5 h 31"/>
                <a:gd name="T6" fmla="*/ 133 w 49"/>
                <a:gd name="T7" fmla="*/ 0 h 31"/>
                <a:gd name="T8" fmla="*/ 273 w 49"/>
                <a:gd name="T9" fmla="*/ 0 h 31"/>
                <a:gd name="T10" fmla="*/ 273 w 49"/>
                <a:gd name="T11" fmla="*/ 5 h 31"/>
                <a:gd name="T12" fmla="*/ 252 w 49"/>
                <a:gd name="T13" fmla="*/ 7 h 31"/>
                <a:gd name="T14" fmla="*/ 273 w 49"/>
                <a:gd name="T15" fmla="*/ 9 h 31"/>
                <a:gd name="T16" fmla="*/ 252 w 49"/>
                <a:gd name="T17" fmla="*/ 16 h 31"/>
                <a:gd name="T18" fmla="*/ 183 w 49"/>
                <a:gd name="T19" fmla="*/ 20 h 31"/>
                <a:gd name="T20" fmla="*/ 144 w 49"/>
                <a:gd name="T21" fmla="*/ 31 h 31"/>
                <a:gd name="T22" fmla="*/ 133 w 49"/>
                <a:gd name="T23" fmla="*/ 24 h 31"/>
                <a:gd name="T24" fmla="*/ 120 w 49"/>
                <a:gd name="T25" fmla="*/ 28 h 31"/>
                <a:gd name="T26" fmla="*/ 120 w 49"/>
                <a:gd name="T27" fmla="*/ 16 h 31"/>
                <a:gd name="T28" fmla="*/ 59 w 49"/>
                <a:gd name="T29" fmla="*/ 16 h 31"/>
                <a:gd name="T30" fmla="*/ 59 w 49"/>
                <a:gd name="T31" fmla="*/ 13 h 31"/>
                <a:gd name="T32" fmla="*/ 6 w 49"/>
                <a:gd name="T33" fmla="*/ 9 h 31"/>
                <a:gd name="T34" fmla="*/ 0 w 49"/>
                <a:gd name="T35" fmla="*/ 7 h 3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9"/>
                <a:gd name="T55" fmla="*/ 0 h 31"/>
                <a:gd name="T56" fmla="*/ 49 w 49"/>
                <a:gd name="T57" fmla="*/ 31 h 3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9" h="31">
                  <a:moveTo>
                    <a:pt x="0" y="7"/>
                  </a:moveTo>
                  <a:lnTo>
                    <a:pt x="11" y="5"/>
                  </a:lnTo>
                  <a:lnTo>
                    <a:pt x="17" y="5"/>
                  </a:lnTo>
                  <a:lnTo>
                    <a:pt x="24" y="0"/>
                  </a:lnTo>
                  <a:lnTo>
                    <a:pt x="49" y="0"/>
                  </a:lnTo>
                  <a:lnTo>
                    <a:pt x="49" y="5"/>
                  </a:lnTo>
                  <a:lnTo>
                    <a:pt x="45" y="7"/>
                  </a:lnTo>
                  <a:lnTo>
                    <a:pt x="49" y="9"/>
                  </a:lnTo>
                  <a:lnTo>
                    <a:pt x="45" y="16"/>
                  </a:lnTo>
                  <a:lnTo>
                    <a:pt x="32" y="20"/>
                  </a:lnTo>
                  <a:lnTo>
                    <a:pt x="26" y="31"/>
                  </a:lnTo>
                  <a:lnTo>
                    <a:pt x="24" y="24"/>
                  </a:lnTo>
                  <a:lnTo>
                    <a:pt x="21" y="28"/>
                  </a:lnTo>
                  <a:lnTo>
                    <a:pt x="21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6" y="9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79" name="Freeform 173"/>
            <p:cNvSpPr>
              <a:spLocks noChangeAspect="1"/>
            </p:cNvSpPr>
            <p:nvPr/>
          </p:nvSpPr>
          <p:spPr bwMode="auto">
            <a:xfrm>
              <a:off x="2759" y="2464"/>
              <a:ext cx="137" cy="185"/>
            </a:xfrm>
            <a:custGeom>
              <a:avLst/>
              <a:gdLst>
                <a:gd name="T0" fmla="*/ 722 w 125"/>
                <a:gd name="T1" fmla="*/ 0 h 181"/>
                <a:gd name="T2" fmla="*/ 754 w 125"/>
                <a:gd name="T3" fmla="*/ 11 h 181"/>
                <a:gd name="T4" fmla="*/ 784 w 125"/>
                <a:gd name="T5" fmla="*/ 46 h 181"/>
                <a:gd name="T6" fmla="*/ 810 w 125"/>
                <a:gd name="T7" fmla="*/ 65 h 181"/>
                <a:gd name="T8" fmla="*/ 739 w 125"/>
                <a:gd name="T9" fmla="*/ 76 h 181"/>
                <a:gd name="T10" fmla="*/ 674 w 125"/>
                <a:gd name="T11" fmla="*/ 88 h 181"/>
                <a:gd name="T12" fmla="*/ 810 w 125"/>
                <a:gd name="T13" fmla="*/ 113 h 181"/>
                <a:gd name="T14" fmla="*/ 852 w 125"/>
                <a:gd name="T15" fmla="*/ 135 h 181"/>
                <a:gd name="T16" fmla="*/ 810 w 125"/>
                <a:gd name="T17" fmla="*/ 151 h 181"/>
                <a:gd name="T18" fmla="*/ 739 w 125"/>
                <a:gd name="T19" fmla="*/ 183 h 181"/>
                <a:gd name="T20" fmla="*/ 754 w 125"/>
                <a:gd name="T21" fmla="*/ 203 h 181"/>
                <a:gd name="T22" fmla="*/ 810 w 125"/>
                <a:gd name="T23" fmla="*/ 224 h 181"/>
                <a:gd name="T24" fmla="*/ 904 w 125"/>
                <a:gd name="T25" fmla="*/ 257 h 181"/>
                <a:gd name="T26" fmla="*/ 904 w 125"/>
                <a:gd name="T27" fmla="*/ 270 h 181"/>
                <a:gd name="T28" fmla="*/ 754 w 125"/>
                <a:gd name="T29" fmla="*/ 270 h 181"/>
                <a:gd name="T30" fmla="*/ 538 w 125"/>
                <a:gd name="T31" fmla="*/ 276 h 181"/>
                <a:gd name="T32" fmla="*/ 357 w 125"/>
                <a:gd name="T33" fmla="*/ 276 h 181"/>
                <a:gd name="T34" fmla="*/ 197 w 125"/>
                <a:gd name="T35" fmla="*/ 276 h 181"/>
                <a:gd name="T36" fmla="*/ 156 w 125"/>
                <a:gd name="T37" fmla="*/ 251 h 181"/>
                <a:gd name="T38" fmla="*/ 109 w 125"/>
                <a:gd name="T39" fmla="*/ 234 h 181"/>
                <a:gd name="T40" fmla="*/ 78 w 125"/>
                <a:gd name="T41" fmla="*/ 224 h 181"/>
                <a:gd name="T42" fmla="*/ 0 w 125"/>
                <a:gd name="T43" fmla="*/ 215 h 181"/>
                <a:gd name="T44" fmla="*/ 78 w 125"/>
                <a:gd name="T45" fmla="*/ 183 h 181"/>
                <a:gd name="T46" fmla="*/ 197 w 125"/>
                <a:gd name="T47" fmla="*/ 154 h 181"/>
                <a:gd name="T48" fmla="*/ 283 w 125"/>
                <a:gd name="T49" fmla="*/ 151 h 181"/>
                <a:gd name="T50" fmla="*/ 312 w 125"/>
                <a:gd name="T51" fmla="*/ 163 h 181"/>
                <a:gd name="T52" fmla="*/ 398 w 125"/>
                <a:gd name="T53" fmla="*/ 154 h 181"/>
                <a:gd name="T54" fmla="*/ 398 w 125"/>
                <a:gd name="T55" fmla="*/ 145 h 181"/>
                <a:gd name="T56" fmla="*/ 504 w 125"/>
                <a:gd name="T57" fmla="*/ 111 h 181"/>
                <a:gd name="T58" fmla="*/ 590 w 125"/>
                <a:gd name="T59" fmla="*/ 88 h 181"/>
                <a:gd name="T60" fmla="*/ 605 w 125"/>
                <a:gd name="T61" fmla="*/ 65 h 181"/>
                <a:gd name="T62" fmla="*/ 648 w 125"/>
                <a:gd name="T63" fmla="*/ 50 h 181"/>
                <a:gd name="T64" fmla="*/ 739 w 125"/>
                <a:gd name="T65" fmla="*/ 46 h 181"/>
                <a:gd name="T66" fmla="*/ 674 w 125"/>
                <a:gd name="T67" fmla="*/ 11 h 18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5"/>
                <a:gd name="T103" fmla="*/ 0 h 181"/>
                <a:gd name="T104" fmla="*/ 125 w 125"/>
                <a:gd name="T105" fmla="*/ 181 h 18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5" h="181">
                  <a:moveTo>
                    <a:pt x="93" y="0"/>
                  </a:moveTo>
                  <a:lnTo>
                    <a:pt x="99" y="0"/>
                  </a:lnTo>
                  <a:lnTo>
                    <a:pt x="99" y="6"/>
                  </a:lnTo>
                  <a:lnTo>
                    <a:pt x="103" y="11"/>
                  </a:lnTo>
                  <a:lnTo>
                    <a:pt x="108" y="19"/>
                  </a:lnTo>
                  <a:lnTo>
                    <a:pt x="108" y="26"/>
                  </a:lnTo>
                  <a:lnTo>
                    <a:pt x="108" y="37"/>
                  </a:lnTo>
                  <a:lnTo>
                    <a:pt x="110" y="45"/>
                  </a:lnTo>
                  <a:lnTo>
                    <a:pt x="116" y="52"/>
                  </a:lnTo>
                  <a:lnTo>
                    <a:pt x="101" y="52"/>
                  </a:lnTo>
                  <a:lnTo>
                    <a:pt x="95" y="52"/>
                  </a:lnTo>
                  <a:lnTo>
                    <a:pt x="93" y="58"/>
                  </a:lnTo>
                  <a:lnTo>
                    <a:pt x="103" y="71"/>
                  </a:lnTo>
                  <a:lnTo>
                    <a:pt x="110" y="73"/>
                  </a:lnTo>
                  <a:lnTo>
                    <a:pt x="114" y="86"/>
                  </a:lnTo>
                  <a:lnTo>
                    <a:pt x="116" y="88"/>
                  </a:lnTo>
                  <a:lnTo>
                    <a:pt x="116" y="95"/>
                  </a:lnTo>
                  <a:lnTo>
                    <a:pt x="110" y="99"/>
                  </a:lnTo>
                  <a:lnTo>
                    <a:pt x="103" y="114"/>
                  </a:lnTo>
                  <a:lnTo>
                    <a:pt x="101" y="117"/>
                  </a:lnTo>
                  <a:lnTo>
                    <a:pt x="101" y="129"/>
                  </a:lnTo>
                  <a:lnTo>
                    <a:pt x="103" y="132"/>
                  </a:lnTo>
                  <a:lnTo>
                    <a:pt x="103" y="140"/>
                  </a:lnTo>
                  <a:lnTo>
                    <a:pt x="110" y="145"/>
                  </a:lnTo>
                  <a:lnTo>
                    <a:pt x="110" y="153"/>
                  </a:lnTo>
                  <a:lnTo>
                    <a:pt x="123" y="166"/>
                  </a:lnTo>
                  <a:lnTo>
                    <a:pt x="125" y="166"/>
                  </a:lnTo>
                  <a:lnTo>
                    <a:pt x="123" y="175"/>
                  </a:lnTo>
                  <a:lnTo>
                    <a:pt x="125" y="179"/>
                  </a:lnTo>
                  <a:lnTo>
                    <a:pt x="103" y="175"/>
                  </a:lnTo>
                  <a:lnTo>
                    <a:pt x="80" y="179"/>
                  </a:lnTo>
                  <a:lnTo>
                    <a:pt x="73" y="179"/>
                  </a:lnTo>
                  <a:lnTo>
                    <a:pt x="62" y="179"/>
                  </a:lnTo>
                  <a:lnTo>
                    <a:pt x="49" y="179"/>
                  </a:lnTo>
                  <a:lnTo>
                    <a:pt x="49" y="181"/>
                  </a:lnTo>
                  <a:lnTo>
                    <a:pt x="28" y="179"/>
                  </a:lnTo>
                  <a:lnTo>
                    <a:pt x="21" y="175"/>
                  </a:lnTo>
                  <a:lnTo>
                    <a:pt x="21" y="162"/>
                  </a:lnTo>
                  <a:lnTo>
                    <a:pt x="21" y="153"/>
                  </a:lnTo>
                  <a:lnTo>
                    <a:pt x="15" y="151"/>
                  </a:lnTo>
                  <a:lnTo>
                    <a:pt x="13" y="151"/>
                  </a:lnTo>
                  <a:lnTo>
                    <a:pt x="11" y="145"/>
                  </a:lnTo>
                  <a:lnTo>
                    <a:pt x="4" y="140"/>
                  </a:lnTo>
                  <a:lnTo>
                    <a:pt x="0" y="140"/>
                  </a:lnTo>
                  <a:lnTo>
                    <a:pt x="6" y="129"/>
                  </a:lnTo>
                  <a:lnTo>
                    <a:pt x="11" y="117"/>
                  </a:lnTo>
                  <a:lnTo>
                    <a:pt x="19" y="106"/>
                  </a:lnTo>
                  <a:lnTo>
                    <a:pt x="28" y="101"/>
                  </a:lnTo>
                  <a:lnTo>
                    <a:pt x="34" y="101"/>
                  </a:lnTo>
                  <a:lnTo>
                    <a:pt x="39" y="99"/>
                  </a:lnTo>
                  <a:lnTo>
                    <a:pt x="43" y="106"/>
                  </a:lnTo>
                  <a:lnTo>
                    <a:pt x="49" y="106"/>
                  </a:lnTo>
                  <a:lnTo>
                    <a:pt x="54" y="101"/>
                  </a:lnTo>
                  <a:lnTo>
                    <a:pt x="58" y="101"/>
                  </a:lnTo>
                  <a:lnTo>
                    <a:pt x="54" y="95"/>
                  </a:lnTo>
                  <a:lnTo>
                    <a:pt x="65" y="75"/>
                  </a:lnTo>
                  <a:lnTo>
                    <a:pt x="69" y="71"/>
                  </a:lnTo>
                  <a:lnTo>
                    <a:pt x="69" y="60"/>
                  </a:lnTo>
                  <a:lnTo>
                    <a:pt x="80" y="58"/>
                  </a:lnTo>
                  <a:lnTo>
                    <a:pt x="78" y="52"/>
                  </a:lnTo>
                  <a:lnTo>
                    <a:pt x="84" y="45"/>
                  </a:lnTo>
                  <a:lnTo>
                    <a:pt x="84" y="41"/>
                  </a:lnTo>
                  <a:lnTo>
                    <a:pt x="88" y="30"/>
                  </a:lnTo>
                  <a:lnTo>
                    <a:pt x="95" y="34"/>
                  </a:lnTo>
                  <a:lnTo>
                    <a:pt x="101" y="26"/>
                  </a:lnTo>
                  <a:lnTo>
                    <a:pt x="99" y="15"/>
                  </a:lnTo>
                  <a:lnTo>
                    <a:pt x="93" y="11"/>
                  </a:lnTo>
                  <a:lnTo>
                    <a:pt x="93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0" name="Freeform 174"/>
            <p:cNvSpPr>
              <a:spLocks noChangeAspect="1"/>
            </p:cNvSpPr>
            <p:nvPr/>
          </p:nvSpPr>
          <p:spPr bwMode="auto">
            <a:xfrm>
              <a:off x="3221" y="2603"/>
              <a:ext cx="144" cy="165"/>
            </a:xfrm>
            <a:custGeom>
              <a:avLst/>
              <a:gdLst>
                <a:gd name="T0" fmla="*/ 4 w 131"/>
                <a:gd name="T1" fmla="*/ 15 h 162"/>
                <a:gd name="T2" fmla="*/ 51 w 131"/>
                <a:gd name="T3" fmla="*/ 9 h 162"/>
                <a:gd name="T4" fmla="*/ 112 w 131"/>
                <a:gd name="T5" fmla="*/ 6 h 162"/>
                <a:gd name="T6" fmla="*/ 192 w 131"/>
                <a:gd name="T7" fmla="*/ 0 h 162"/>
                <a:gd name="T8" fmla="*/ 217 w 131"/>
                <a:gd name="T9" fmla="*/ 6 h 162"/>
                <a:gd name="T10" fmla="*/ 239 w 131"/>
                <a:gd name="T11" fmla="*/ 6 h 162"/>
                <a:gd name="T12" fmla="*/ 318 w 131"/>
                <a:gd name="T13" fmla="*/ 9 h 162"/>
                <a:gd name="T14" fmla="*/ 451 w 131"/>
                <a:gd name="T15" fmla="*/ 15 h 162"/>
                <a:gd name="T16" fmla="*/ 567 w 131"/>
                <a:gd name="T17" fmla="*/ 24 h 162"/>
                <a:gd name="T18" fmla="*/ 709 w 131"/>
                <a:gd name="T19" fmla="*/ 26 h 162"/>
                <a:gd name="T20" fmla="*/ 776 w 131"/>
                <a:gd name="T21" fmla="*/ 15 h 162"/>
                <a:gd name="T22" fmla="*/ 797 w 131"/>
                <a:gd name="T23" fmla="*/ 15 h 162"/>
                <a:gd name="T24" fmla="*/ 886 w 131"/>
                <a:gd name="T25" fmla="*/ 15 h 162"/>
                <a:gd name="T26" fmla="*/ 938 w 131"/>
                <a:gd name="T27" fmla="*/ 19 h 162"/>
                <a:gd name="T28" fmla="*/ 1015 w 131"/>
                <a:gd name="T29" fmla="*/ 19 h 162"/>
                <a:gd name="T30" fmla="*/ 910 w 131"/>
                <a:gd name="T31" fmla="*/ 54 h 162"/>
                <a:gd name="T32" fmla="*/ 910 w 131"/>
                <a:gd name="T33" fmla="*/ 135 h 162"/>
                <a:gd name="T34" fmla="*/ 963 w 131"/>
                <a:gd name="T35" fmla="*/ 151 h 162"/>
                <a:gd name="T36" fmla="*/ 953 w 131"/>
                <a:gd name="T37" fmla="*/ 160 h 162"/>
                <a:gd name="T38" fmla="*/ 886 w 131"/>
                <a:gd name="T39" fmla="*/ 171 h 162"/>
                <a:gd name="T40" fmla="*/ 886 w 131"/>
                <a:gd name="T41" fmla="*/ 177 h 162"/>
                <a:gd name="T42" fmla="*/ 838 w 131"/>
                <a:gd name="T43" fmla="*/ 177 h 162"/>
                <a:gd name="T44" fmla="*/ 787 w 131"/>
                <a:gd name="T45" fmla="*/ 183 h 162"/>
                <a:gd name="T46" fmla="*/ 776 w 131"/>
                <a:gd name="T47" fmla="*/ 200 h 162"/>
                <a:gd name="T48" fmla="*/ 709 w 131"/>
                <a:gd name="T49" fmla="*/ 218 h 162"/>
                <a:gd name="T50" fmla="*/ 667 w 131"/>
                <a:gd name="T51" fmla="*/ 232 h 162"/>
                <a:gd name="T52" fmla="*/ 496 w 131"/>
                <a:gd name="T53" fmla="*/ 206 h 162"/>
                <a:gd name="T54" fmla="*/ 496 w 131"/>
                <a:gd name="T55" fmla="*/ 194 h 162"/>
                <a:gd name="T56" fmla="*/ 51 w 131"/>
                <a:gd name="T57" fmla="*/ 138 h 162"/>
                <a:gd name="T58" fmla="*/ 0 w 131"/>
                <a:gd name="T59" fmla="*/ 138 h 162"/>
                <a:gd name="T60" fmla="*/ 0 w 131"/>
                <a:gd name="T61" fmla="*/ 115 h 162"/>
                <a:gd name="T62" fmla="*/ 75 w 131"/>
                <a:gd name="T63" fmla="*/ 80 h 162"/>
                <a:gd name="T64" fmla="*/ 148 w 131"/>
                <a:gd name="T65" fmla="*/ 70 h 162"/>
                <a:gd name="T66" fmla="*/ 75 w 131"/>
                <a:gd name="T67" fmla="*/ 54 h 162"/>
                <a:gd name="T68" fmla="*/ 75 w 131"/>
                <a:gd name="T69" fmla="*/ 26 h 162"/>
                <a:gd name="T70" fmla="*/ 75 w 131"/>
                <a:gd name="T71" fmla="*/ 22 h 162"/>
                <a:gd name="T72" fmla="*/ 4 w 131"/>
                <a:gd name="T73" fmla="*/ 19 h 162"/>
                <a:gd name="T74" fmla="*/ 4 w 131"/>
                <a:gd name="T75" fmla="*/ 15 h 16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1"/>
                <a:gd name="T115" fmla="*/ 0 h 162"/>
                <a:gd name="T116" fmla="*/ 131 w 131"/>
                <a:gd name="T117" fmla="*/ 162 h 16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1" h="162">
                  <a:moveTo>
                    <a:pt x="4" y="15"/>
                  </a:moveTo>
                  <a:lnTo>
                    <a:pt x="6" y="9"/>
                  </a:lnTo>
                  <a:lnTo>
                    <a:pt x="15" y="6"/>
                  </a:lnTo>
                  <a:lnTo>
                    <a:pt x="25" y="0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41" y="9"/>
                  </a:lnTo>
                  <a:lnTo>
                    <a:pt x="58" y="15"/>
                  </a:lnTo>
                  <a:lnTo>
                    <a:pt x="73" y="24"/>
                  </a:lnTo>
                  <a:lnTo>
                    <a:pt x="90" y="26"/>
                  </a:lnTo>
                  <a:lnTo>
                    <a:pt x="99" y="15"/>
                  </a:lnTo>
                  <a:lnTo>
                    <a:pt x="103" y="15"/>
                  </a:lnTo>
                  <a:lnTo>
                    <a:pt x="114" y="15"/>
                  </a:lnTo>
                  <a:lnTo>
                    <a:pt x="120" y="19"/>
                  </a:lnTo>
                  <a:lnTo>
                    <a:pt x="131" y="19"/>
                  </a:lnTo>
                  <a:lnTo>
                    <a:pt x="116" y="34"/>
                  </a:lnTo>
                  <a:lnTo>
                    <a:pt x="116" y="95"/>
                  </a:lnTo>
                  <a:lnTo>
                    <a:pt x="125" y="106"/>
                  </a:lnTo>
                  <a:lnTo>
                    <a:pt x="123" y="112"/>
                  </a:lnTo>
                  <a:lnTo>
                    <a:pt x="114" y="119"/>
                  </a:lnTo>
                  <a:lnTo>
                    <a:pt x="114" y="123"/>
                  </a:lnTo>
                  <a:lnTo>
                    <a:pt x="107" y="123"/>
                  </a:lnTo>
                  <a:lnTo>
                    <a:pt x="101" y="127"/>
                  </a:lnTo>
                  <a:lnTo>
                    <a:pt x="99" y="138"/>
                  </a:lnTo>
                  <a:lnTo>
                    <a:pt x="90" y="151"/>
                  </a:lnTo>
                  <a:lnTo>
                    <a:pt x="86" y="162"/>
                  </a:lnTo>
                  <a:lnTo>
                    <a:pt x="64" y="142"/>
                  </a:lnTo>
                  <a:lnTo>
                    <a:pt x="64" y="134"/>
                  </a:lnTo>
                  <a:lnTo>
                    <a:pt x="6" y="97"/>
                  </a:lnTo>
                  <a:lnTo>
                    <a:pt x="0" y="97"/>
                  </a:lnTo>
                  <a:lnTo>
                    <a:pt x="0" y="78"/>
                  </a:lnTo>
                  <a:lnTo>
                    <a:pt x="10" y="60"/>
                  </a:lnTo>
                  <a:lnTo>
                    <a:pt x="19" y="50"/>
                  </a:lnTo>
                  <a:lnTo>
                    <a:pt x="10" y="34"/>
                  </a:lnTo>
                  <a:lnTo>
                    <a:pt x="10" y="26"/>
                  </a:lnTo>
                  <a:lnTo>
                    <a:pt x="10" y="22"/>
                  </a:lnTo>
                  <a:lnTo>
                    <a:pt x="4" y="19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1" name="Freeform 175"/>
            <p:cNvSpPr>
              <a:spLocks noChangeAspect="1"/>
            </p:cNvSpPr>
            <p:nvPr/>
          </p:nvSpPr>
          <p:spPr bwMode="auto">
            <a:xfrm>
              <a:off x="3384" y="2879"/>
              <a:ext cx="4" cy="12"/>
            </a:xfrm>
            <a:custGeom>
              <a:avLst/>
              <a:gdLst>
                <a:gd name="T0" fmla="*/ 1552 w 3"/>
                <a:gd name="T1" fmla="*/ 58 h 11"/>
                <a:gd name="T2" fmla="*/ 0 w 3"/>
                <a:gd name="T3" fmla="*/ 38 h 11"/>
                <a:gd name="T4" fmla="*/ 0 w 3"/>
                <a:gd name="T5" fmla="*/ 2 h 11"/>
                <a:gd name="T6" fmla="*/ 0 w 3"/>
                <a:gd name="T7" fmla="*/ 0 h 11"/>
                <a:gd name="T8" fmla="*/ 1552 w 3"/>
                <a:gd name="T9" fmla="*/ 0 h 11"/>
                <a:gd name="T10" fmla="*/ 1552 w 3"/>
                <a:gd name="T11" fmla="*/ 58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3" y="11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2" name="Freeform 176"/>
            <p:cNvSpPr>
              <a:spLocks noChangeAspect="1"/>
            </p:cNvSpPr>
            <p:nvPr/>
          </p:nvSpPr>
          <p:spPr bwMode="auto">
            <a:xfrm>
              <a:off x="2807" y="2625"/>
              <a:ext cx="135" cy="147"/>
            </a:xfrm>
            <a:custGeom>
              <a:avLst/>
              <a:gdLst>
                <a:gd name="T0" fmla="*/ 682 w 123"/>
                <a:gd name="T1" fmla="*/ 12 h 144"/>
                <a:gd name="T2" fmla="*/ 800 w 123"/>
                <a:gd name="T3" fmla="*/ 0 h 144"/>
                <a:gd name="T4" fmla="*/ 921 w 123"/>
                <a:gd name="T5" fmla="*/ 0 h 144"/>
                <a:gd name="T6" fmla="*/ 912 w 123"/>
                <a:gd name="T7" fmla="*/ 15 h 144"/>
                <a:gd name="T8" fmla="*/ 859 w 123"/>
                <a:gd name="T9" fmla="*/ 58 h 144"/>
                <a:gd name="T10" fmla="*/ 839 w 123"/>
                <a:gd name="T11" fmla="*/ 80 h 144"/>
                <a:gd name="T12" fmla="*/ 839 w 123"/>
                <a:gd name="T13" fmla="*/ 106 h 144"/>
                <a:gd name="T14" fmla="*/ 716 w 123"/>
                <a:gd name="T15" fmla="*/ 117 h 144"/>
                <a:gd name="T16" fmla="*/ 682 w 123"/>
                <a:gd name="T17" fmla="*/ 131 h 144"/>
                <a:gd name="T18" fmla="*/ 610 w 123"/>
                <a:gd name="T19" fmla="*/ 154 h 144"/>
                <a:gd name="T20" fmla="*/ 605 w 123"/>
                <a:gd name="T21" fmla="*/ 187 h 144"/>
                <a:gd name="T22" fmla="*/ 502 w 123"/>
                <a:gd name="T23" fmla="*/ 201 h 144"/>
                <a:gd name="T24" fmla="*/ 446 w 123"/>
                <a:gd name="T25" fmla="*/ 213 h 144"/>
                <a:gd name="T26" fmla="*/ 398 w 123"/>
                <a:gd name="T27" fmla="*/ 201 h 144"/>
                <a:gd name="T28" fmla="*/ 316 w 123"/>
                <a:gd name="T29" fmla="*/ 207 h 144"/>
                <a:gd name="T30" fmla="*/ 261 w 123"/>
                <a:gd name="T31" fmla="*/ 201 h 144"/>
                <a:gd name="T32" fmla="*/ 195 w 123"/>
                <a:gd name="T33" fmla="*/ 201 h 144"/>
                <a:gd name="T34" fmla="*/ 165 w 123"/>
                <a:gd name="T35" fmla="*/ 207 h 144"/>
                <a:gd name="T36" fmla="*/ 79 w 123"/>
                <a:gd name="T37" fmla="*/ 207 h 144"/>
                <a:gd name="T38" fmla="*/ 42 w 123"/>
                <a:gd name="T39" fmla="*/ 178 h 144"/>
                <a:gd name="T40" fmla="*/ 79 w 123"/>
                <a:gd name="T41" fmla="*/ 178 h 144"/>
                <a:gd name="T42" fmla="*/ 112 w 123"/>
                <a:gd name="T43" fmla="*/ 160 h 144"/>
                <a:gd name="T44" fmla="*/ 79 w 123"/>
                <a:gd name="T45" fmla="*/ 140 h 144"/>
                <a:gd name="T46" fmla="*/ 165 w 123"/>
                <a:gd name="T47" fmla="*/ 148 h 144"/>
                <a:gd name="T48" fmla="*/ 281 w 123"/>
                <a:gd name="T49" fmla="*/ 148 h 144"/>
                <a:gd name="T50" fmla="*/ 374 w 123"/>
                <a:gd name="T51" fmla="*/ 151 h 144"/>
                <a:gd name="T52" fmla="*/ 398 w 123"/>
                <a:gd name="T53" fmla="*/ 140 h 144"/>
                <a:gd name="T54" fmla="*/ 446 w 123"/>
                <a:gd name="T55" fmla="*/ 125 h 144"/>
                <a:gd name="T56" fmla="*/ 374 w 123"/>
                <a:gd name="T57" fmla="*/ 92 h 144"/>
                <a:gd name="T58" fmla="*/ 398 w 123"/>
                <a:gd name="T59" fmla="*/ 69 h 144"/>
                <a:gd name="T60" fmla="*/ 398 w 123"/>
                <a:gd name="T61" fmla="*/ 58 h 144"/>
                <a:gd name="T62" fmla="*/ 316 w 123"/>
                <a:gd name="T63" fmla="*/ 58 h 144"/>
                <a:gd name="T64" fmla="*/ 281 w 123"/>
                <a:gd name="T65" fmla="*/ 48 h 144"/>
                <a:gd name="T66" fmla="*/ 281 w 123"/>
                <a:gd name="T67" fmla="*/ 23 h 144"/>
                <a:gd name="T68" fmla="*/ 610 w 123"/>
                <a:gd name="T69" fmla="*/ 23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23"/>
                <a:gd name="T106" fmla="*/ 0 h 144"/>
                <a:gd name="T107" fmla="*/ 123 w 123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23" h="144">
                  <a:moveTo>
                    <a:pt x="82" y="23"/>
                  </a:moveTo>
                  <a:lnTo>
                    <a:pt x="91" y="12"/>
                  </a:lnTo>
                  <a:lnTo>
                    <a:pt x="93" y="0"/>
                  </a:lnTo>
                  <a:lnTo>
                    <a:pt x="106" y="0"/>
                  </a:lnTo>
                  <a:lnTo>
                    <a:pt x="114" y="0"/>
                  </a:lnTo>
                  <a:lnTo>
                    <a:pt x="123" y="0"/>
                  </a:lnTo>
                  <a:lnTo>
                    <a:pt x="123" y="8"/>
                  </a:lnTo>
                  <a:lnTo>
                    <a:pt x="121" y="15"/>
                  </a:lnTo>
                  <a:lnTo>
                    <a:pt x="114" y="28"/>
                  </a:lnTo>
                  <a:lnTo>
                    <a:pt x="114" y="38"/>
                  </a:lnTo>
                  <a:lnTo>
                    <a:pt x="112" y="45"/>
                  </a:lnTo>
                  <a:lnTo>
                    <a:pt x="112" y="56"/>
                  </a:lnTo>
                  <a:lnTo>
                    <a:pt x="112" y="62"/>
                  </a:lnTo>
                  <a:lnTo>
                    <a:pt x="112" y="69"/>
                  </a:lnTo>
                  <a:lnTo>
                    <a:pt x="101" y="77"/>
                  </a:lnTo>
                  <a:lnTo>
                    <a:pt x="95" y="77"/>
                  </a:lnTo>
                  <a:lnTo>
                    <a:pt x="93" y="86"/>
                  </a:lnTo>
                  <a:lnTo>
                    <a:pt x="91" y="88"/>
                  </a:lnTo>
                  <a:lnTo>
                    <a:pt x="82" y="94"/>
                  </a:lnTo>
                  <a:lnTo>
                    <a:pt x="82" y="103"/>
                  </a:lnTo>
                  <a:lnTo>
                    <a:pt x="82" y="114"/>
                  </a:lnTo>
                  <a:lnTo>
                    <a:pt x="80" y="123"/>
                  </a:lnTo>
                  <a:lnTo>
                    <a:pt x="76" y="129"/>
                  </a:lnTo>
                  <a:lnTo>
                    <a:pt x="67" y="133"/>
                  </a:lnTo>
                  <a:lnTo>
                    <a:pt x="65" y="133"/>
                  </a:lnTo>
                  <a:lnTo>
                    <a:pt x="58" y="142"/>
                  </a:lnTo>
                  <a:lnTo>
                    <a:pt x="56" y="133"/>
                  </a:lnTo>
                  <a:lnTo>
                    <a:pt x="52" y="133"/>
                  </a:lnTo>
                  <a:lnTo>
                    <a:pt x="45" y="133"/>
                  </a:lnTo>
                  <a:lnTo>
                    <a:pt x="43" y="138"/>
                  </a:lnTo>
                  <a:lnTo>
                    <a:pt x="37" y="138"/>
                  </a:lnTo>
                  <a:lnTo>
                    <a:pt x="35" y="133"/>
                  </a:lnTo>
                  <a:lnTo>
                    <a:pt x="30" y="133"/>
                  </a:lnTo>
                  <a:lnTo>
                    <a:pt x="26" y="133"/>
                  </a:lnTo>
                  <a:lnTo>
                    <a:pt x="22" y="133"/>
                  </a:lnTo>
                  <a:lnTo>
                    <a:pt x="22" y="138"/>
                  </a:lnTo>
                  <a:lnTo>
                    <a:pt x="15" y="144"/>
                  </a:lnTo>
                  <a:lnTo>
                    <a:pt x="11" y="138"/>
                  </a:lnTo>
                  <a:lnTo>
                    <a:pt x="0" y="123"/>
                  </a:lnTo>
                  <a:lnTo>
                    <a:pt x="6" y="118"/>
                  </a:lnTo>
                  <a:lnTo>
                    <a:pt x="9" y="116"/>
                  </a:lnTo>
                  <a:lnTo>
                    <a:pt x="11" y="118"/>
                  </a:lnTo>
                  <a:lnTo>
                    <a:pt x="15" y="118"/>
                  </a:lnTo>
                  <a:lnTo>
                    <a:pt x="15" y="107"/>
                  </a:lnTo>
                  <a:lnTo>
                    <a:pt x="9" y="103"/>
                  </a:lnTo>
                  <a:lnTo>
                    <a:pt x="11" y="94"/>
                  </a:lnTo>
                  <a:lnTo>
                    <a:pt x="15" y="99"/>
                  </a:lnTo>
                  <a:lnTo>
                    <a:pt x="22" y="99"/>
                  </a:lnTo>
                  <a:lnTo>
                    <a:pt x="26" y="88"/>
                  </a:lnTo>
                  <a:lnTo>
                    <a:pt x="37" y="99"/>
                  </a:lnTo>
                  <a:lnTo>
                    <a:pt x="45" y="94"/>
                  </a:lnTo>
                  <a:lnTo>
                    <a:pt x="50" y="101"/>
                  </a:lnTo>
                  <a:lnTo>
                    <a:pt x="52" y="101"/>
                  </a:lnTo>
                  <a:lnTo>
                    <a:pt x="52" y="94"/>
                  </a:lnTo>
                  <a:lnTo>
                    <a:pt x="56" y="88"/>
                  </a:lnTo>
                  <a:lnTo>
                    <a:pt x="58" y="84"/>
                  </a:lnTo>
                  <a:lnTo>
                    <a:pt x="58" y="69"/>
                  </a:lnTo>
                  <a:lnTo>
                    <a:pt x="50" y="62"/>
                  </a:lnTo>
                  <a:lnTo>
                    <a:pt x="50" y="53"/>
                  </a:lnTo>
                  <a:lnTo>
                    <a:pt x="52" y="49"/>
                  </a:lnTo>
                  <a:lnTo>
                    <a:pt x="56" y="45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43" y="38"/>
                  </a:lnTo>
                  <a:lnTo>
                    <a:pt x="37" y="38"/>
                  </a:lnTo>
                  <a:lnTo>
                    <a:pt x="37" y="28"/>
                  </a:lnTo>
                  <a:lnTo>
                    <a:pt x="41" y="23"/>
                  </a:lnTo>
                  <a:lnTo>
                    <a:pt x="37" y="23"/>
                  </a:lnTo>
                  <a:lnTo>
                    <a:pt x="60" y="19"/>
                  </a:lnTo>
                  <a:lnTo>
                    <a:pt x="82" y="2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3" name="Freeform 177"/>
            <p:cNvSpPr>
              <a:spLocks noChangeAspect="1"/>
            </p:cNvSpPr>
            <p:nvPr/>
          </p:nvSpPr>
          <p:spPr bwMode="auto">
            <a:xfrm>
              <a:off x="2404" y="2541"/>
              <a:ext cx="69" cy="71"/>
            </a:xfrm>
            <a:custGeom>
              <a:avLst/>
              <a:gdLst>
                <a:gd name="T0" fmla="*/ 105 w 63"/>
                <a:gd name="T1" fmla="*/ 0 h 70"/>
                <a:gd name="T2" fmla="*/ 177 w 63"/>
                <a:gd name="T3" fmla="*/ 0 h 70"/>
                <a:gd name="T4" fmla="*/ 197 w 63"/>
                <a:gd name="T5" fmla="*/ 9 h 70"/>
                <a:gd name="T6" fmla="*/ 197 w 63"/>
                <a:gd name="T7" fmla="*/ 20 h 70"/>
                <a:gd name="T8" fmla="*/ 238 w 63"/>
                <a:gd name="T9" fmla="*/ 20 h 70"/>
                <a:gd name="T10" fmla="*/ 286 w 63"/>
                <a:gd name="T11" fmla="*/ 20 h 70"/>
                <a:gd name="T12" fmla="*/ 286 w 63"/>
                <a:gd name="T13" fmla="*/ 13 h 70"/>
                <a:gd name="T14" fmla="*/ 343 w 63"/>
                <a:gd name="T15" fmla="*/ 16 h 70"/>
                <a:gd name="T16" fmla="*/ 343 w 63"/>
                <a:gd name="T17" fmla="*/ 24 h 70"/>
                <a:gd name="T18" fmla="*/ 343 w 63"/>
                <a:gd name="T19" fmla="*/ 29 h 70"/>
                <a:gd name="T20" fmla="*/ 343 w 63"/>
                <a:gd name="T21" fmla="*/ 31 h 70"/>
                <a:gd name="T22" fmla="*/ 343 w 63"/>
                <a:gd name="T23" fmla="*/ 59 h 70"/>
                <a:gd name="T24" fmla="*/ 400 w 63"/>
                <a:gd name="T25" fmla="*/ 59 h 70"/>
                <a:gd name="T26" fmla="*/ 428 w 63"/>
                <a:gd name="T27" fmla="*/ 59 h 70"/>
                <a:gd name="T28" fmla="*/ 451 w 63"/>
                <a:gd name="T29" fmla="*/ 64 h 70"/>
                <a:gd name="T30" fmla="*/ 428 w 63"/>
                <a:gd name="T31" fmla="*/ 77 h 70"/>
                <a:gd name="T32" fmla="*/ 451 w 63"/>
                <a:gd name="T33" fmla="*/ 90 h 70"/>
                <a:gd name="T34" fmla="*/ 343 w 63"/>
                <a:gd name="T35" fmla="*/ 85 h 70"/>
                <a:gd name="T36" fmla="*/ 126 w 63"/>
                <a:gd name="T37" fmla="*/ 64 h 70"/>
                <a:gd name="T38" fmla="*/ 0 w 63"/>
                <a:gd name="T39" fmla="*/ 29 h 70"/>
                <a:gd name="T40" fmla="*/ 54 w 63"/>
                <a:gd name="T41" fmla="*/ 20 h 70"/>
                <a:gd name="T42" fmla="*/ 78 w 63"/>
                <a:gd name="T43" fmla="*/ 13 h 70"/>
                <a:gd name="T44" fmla="*/ 78 w 63"/>
                <a:gd name="T45" fmla="*/ 7 h 70"/>
                <a:gd name="T46" fmla="*/ 105 w 63"/>
                <a:gd name="T47" fmla="*/ 7 h 70"/>
                <a:gd name="T48" fmla="*/ 105 w 63"/>
                <a:gd name="T49" fmla="*/ 0 h 7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"/>
                <a:gd name="T76" fmla="*/ 0 h 70"/>
                <a:gd name="T77" fmla="*/ 63 w 63"/>
                <a:gd name="T78" fmla="*/ 70 h 7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" h="70">
                  <a:moveTo>
                    <a:pt x="15" y="0"/>
                  </a:moveTo>
                  <a:lnTo>
                    <a:pt x="24" y="0"/>
                  </a:lnTo>
                  <a:lnTo>
                    <a:pt x="28" y="9"/>
                  </a:lnTo>
                  <a:lnTo>
                    <a:pt x="28" y="20"/>
                  </a:lnTo>
                  <a:lnTo>
                    <a:pt x="33" y="20"/>
                  </a:lnTo>
                  <a:lnTo>
                    <a:pt x="41" y="20"/>
                  </a:lnTo>
                  <a:lnTo>
                    <a:pt x="41" y="13"/>
                  </a:lnTo>
                  <a:lnTo>
                    <a:pt x="48" y="16"/>
                  </a:lnTo>
                  <a:lnTo>
                    <a:pt x="48" y="24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48" y="39"/>
                  </a:lnTo>
                  <a:lnTo>
                    <a:pt x="56" y="39"/>
                  </a:lnTo>
                  <a:lnTo>
                    <a:pt x="59" y="39"/>
                  </a:lnTo>
                  <a:lnTo>
                    <a:pt x="63" y="44"/>
                  </a:lnTo>
                  <a:lnTo>
                    <a:pt x="59" y="57"/>
                  </a:lnTo>
                  <a:lnTo>
                    <a:pt x="63" y="70"/>
                  </a:lnTo>
                  <a:lnTo>
                    <a:pt x="48" y="65"/>
                  </a:lnTo>
                  <a:lnTo>
                    <a:pt x="18" y="44"/>
                  </a:lnTo>
                  <a:lnTo>
                    <a:pt x="0" y="29"/>
                  </a:lnTo>
                  <a:lnTo>
                    <a:pt x="7" y="20"/>
                  </a:lnTo>
                  <a:lnTo>
                    <a:pt x="11" y="13"/>
                  </a:lnTo>
                  <a:lnTo>
                    <a:pt x="11" y="7"/>
                  </a:lnTo>
                  <a:lnTo>
                    <a:pt x="15" y="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4" name="Freeform 178"/>
            <p:cNvSpPr>
              <a:spLocks noChangeAspect="1"/>
            </p:cNvSpPr>
            <p:nvPr/>
          </p:nvSpPr>
          <p:spPr bwMode="auto">
            <a:xfrm>
              <a:off x="2775" y="2116"/>
              <a:ext cx="278" cy="239"/>
            </a:xfrm>
            <a:custGeom>
              <a:avLst/>
              <a:gdLst>
                <a:gd name="T0" fmla="*/ 0 w 252"/>
                <a:gd name="T1" fmla="*/ 69 h 235"/>
                <a:gd name="T2" fmla="*/ 4 w 252"/>
                <a:gd name="T3" fmla="*/ 69 h 235"/>
                <a:gd name="T4" fmla="*/ 111 w 252"/>
                <a:gd name="T5" fmla="*/ 59 h 235"/>
                <a:gd name="T6" fmla="*/ 92 w 252"/>
                <a:gd name="T7" fmla="*/ 26 h 235"/>
                <a:gd name="T8" fmla="*/ 200 w 252"/>
                <a:gd name="T9" fmla="*/ 15 h 235"/>
                <a:gd name="T10" fmla="*/ 288 w 252"/>
                <a:gd name="T11" fmla="*/ 11 h 235"/>
                <a:gd name="T12" fmla="*/ 261 w 252"/>
                <a:gd name="T13" fmla="*/ 6 h 235"/>
                <a:gd name="T14" fmla="*/ 261 w 252"/>
                <a:gd name="T15" fmla="*/ 0 h 235"/>
                <a:gd name="T16" fmla="*/ 389 w 252"/>
                <a:gd name="T17" fmla="*/ 2 h 235"/>
                <a:gd name="T18" fmla="*/ 545 w 252"/>
                <a:gd name="T19" fmla="*/ 6 h 235"/>
                <a:gd name="T20" fmla="*/ 617 w 252"/>
                <a:gd name="T21" fmla="*/ 8 h 235"/>
                <a:gd name="T22" fmla="*/ 731 w 252"/>
                <a:gd name="T23" fmla="*/ 11 h 235"/>
                <a:gd name="T24" fmla="*/ 803 w 252"/>
                <a:gd name="T25" fmla="*/ 26 h 235"/>
                <a:gd name="T26" fmla="*/ 1001 w 252"/>
                <a:gd name="T27" fmla="*/ 54 h 235"/>
                <a:gd name="T28" fmla="*/ 1293 w 252"/>
                <a:gd name="T29" fmla="*/ 72 h 235"/>
                <a:gd name="T30" fmla="*/ 1380 w 252"/>
                <a:gd name="T31" fmla="*/ 61 h 235"/>
                <a:gd name="T32" fmla="*/ 1389 w 252"/>
                <a:gd name="T33" fmla="*/ 54 h 235"/>
                <a:gd name="T34" fmla="*/ 1380 w 252"/>
                <a:gd name="T35" fmla="*/ 19 h 235"/>
                <a:gd name="T36" fmla="*/ 1401 w 252"/>
                <a:gd name="T37" fmla="*/ 8 h 235"/>
                <a:gd name="T38" fmla="*/ 1507 w 252"/>
                <a:gd name="T39" fmla="*/ 6 h 235"/>
                <a:gd name="T40" fmla="*/ 1532 w 252"/>
                <a:gd name="T41" fmla="*/ 6 h 235"/>
                <a:gd name="T42" fmla="*/ 1575 w 252"/>
                <a:gd name="T43" fmla="*/ 2 h 235"/>
                <a:gd name="T44" fmla="*/ 1661 w 252"/>
                <a:gd name="T45" fmla="*/ 2 h 235"/>
                <a:gd name="T46" fmla="*/ 1742 w 252"/>
                <a:gd name="T47" fmla="*/ 6 h 235"/>
                <a:gd name="T48" fmla="*/ 1793 w 252"/>
                <a:gd name="T49" fmla="*/ 11 h 235"/>
                <a:gd name="T50" fmla="*/ 1910 w 252"/>
                <a:gd name="T51" fmla="*/ 19 h 235"/>
                <a:gd name="T52" fmla="*/ 2061 w 252"/>
                <a:gd name="T53" fmla="*/ 26 h 235"/>
                <a:gd name="T54" fmla="*/ 2021 w 252"/>
                <a:gd name="T55" fmla="*/ 50 h 235"/>
                <a:gd name="T56" fmla="*/ 2061 w 252"/>
                <a:gd name="T57" fmla="*/ 61 h 235"/>
                <a:gd name="T58" fmla="*/ 2021 w 252"/>
                <a:gd name="T59" fmla="*/ 72 h 235"/>
                <a:gd name="T60" fmla="*/ 2061 w 252"/>
                <a:gd name="T61" fmla="*/ 87 h 235"/>
                <a:gd name="T62" fmla="*/ 2111 w 252"/>
                <a:gd name="T63" fmla="*/ 271 h 235"/>
                <a:gd name="T64" fmla="*/ 2111 w 252"/>
                <a:gd name="T65" fmla="*/ 320 h 235"/>
                <a:gd name="T66" fmla="*/ 1991 w 252"/>
                <a:gd name="T67" fmla="*/ 320 h 235"/>
                <a:gd name="T68" fmla="*/ 1991 w 252"/>
                <a:gd name="T69" fmla="*/ 327 h 235"/>
                <a:gd name="T70" fmla="*/ 907 w 252"/>
                <a:gd name="T71" fmla="*/ 238 h 235"/>
                <a:gd name="T72" fmla="*/ 731 w 252"/>
                <a:gd name="T73" fmla="*/ 247 h 235"/>
                <a:gd name="T74" fmla="*/ 651 w 252"/>
                <a:gd name="T75" fmla="*/ 255 h 235"/>
                <a:gd name="T76" fmla="*/ 545 w 252"/>
                <a:gd name="T77" fmla="*/ 244 h 235"/>
                <a:gd name="T78" fmla="*/ 362 w 252"/>
                <a:gd name="T79" fmla="*/ 235 h 235"/>
                <a:gd name="T80" fmla="*/ 288 w 252"/>
                <a:gd name="T81" fmla="*/ 218 h 235"/>
                <a:gd name="T82" fmla="*/ 200 w 252"/>
                <a:gd name="T83" fmla="*/ 210 h 235"/>
                <a:gd name="T84" fmla="*/ 122 w 252"/>
                <a:gd name="T85" fmla="*/ 215 h 235"/>
                <a:gd name="T86" fmla="*/ 92 w 252"/>
                <a:gd name="T87" fmla="*/ 202 h 235"/>
                <a:gd name="T88" fmla="*/ 92 w 252"/>
                <a:gd name="T89" fmla="*/ 193 h 235"/>
                <a:gd name="T90" fmla="*/ 0 w 252"/>
                <a:gd name="T91" fmla="*/ 171 h 235"/>
                <a:gd name="T92" fmla="*/ 75 w 252"/>
                <a:gd name="T93" fmla="*/ 157 h 235"/>
                <a:gd name="T94" fmla="*/ 4 w 252"/>
                <a:gd name="T95" fmla="*/ 139 h 235"/>
                <a:gd name="T96" fmla="*/ 75 w 252"/>
                <a:gd name="T97" fmla="*/ 130 h 235"/>
                <a:gd name="T98" fmla="*/ 4 w 252"/>
                <a:gd name="T99" fmla="*/ 93 h 235"/>
                <a:gd name="T100" fmla="*/ 0 w 252"/>
                <a:gd name="T101" fmla="*/ 69 h 23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2"/>
                <a:gd name="T154" fmla="*/ 0 h 235"/>
                <a:gd name="T155" fmla="*/ 252 w 252"/>
                <a:gd name="T156" fmla="*/ 235 h 23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2" h="235">
                  <a:moveTo>
                    <a:pt x="0" y="49"/>
                  </a:moveTo>
                  <a:lnTo>
                    <a:pt x="4" y="49"/>
                  </a:lnTo>
                  <a:lnTo>
                    <a:pt x="13" y="39"/>
                  </a:lnTo>
                  <a:lnTo>
                    <a:pt x="11" y="26"/>
                  </a:lnTo>
                  <a:lnTo>
                    <a:pt x="24" y="15"/>
                  </a:lnTo>
                  <a:lnTo>
                    <a:pt x="34" y="11"/>
                  </a:lnTo>
                  <a:lnTo>
                    <a:pt x="30" y="6"/>
                  </a:lnTo>
                  <a:lnTo>
                    <a:pt x="30" y="0"/>
                  </a:lnTo>
                  <a:lnTo>
                    <a:pt x="47" y="2"/>
                  </a:lnTo>
                  <a:lnTo>
                    <a:pt x="65" y="6"/>
                  </a:lnTo>
                  <a:lnTo>
                    <a:pt x="73" y="8"/>
                  </a:lnTo>
                  <a:lnTo>
                    <a:pt x="88" y="11"/>
                  </a:lnTo>
                  <a:lnTo>
                    <a:pt x="95" y="26"/>
                  </a:lnTo>
                  <a:lnTo>
                    <a:pt x="119" y="34"/>
                  </a:lnTo>
                  <a:lnTo>
                    <a:pt x="153" y="52"/>
                  </a:lnTo>
                  <a:lnTo>
                    <a:pt x="164" y="41"/>
                  </a:lnTo>
                  <a:lnTo>
                    <a:pt x="166" y="34"/>
                  </a:lnTo>
                  <a:lnTo>
                    <a:pt x="164" y="19"/>
                  </a:lnTo>
                  <a:lnTo>
                    <a:pt x="168" y="8"/>
                  </a:lnTo>
                  <a:lnTo>
                    <a:pt x="181" y="6"/>
                  </a:lnTo>
                  <a:lnTo>
                    <a:pt x="183" y="6"/>
                  </a:lnTo>
                  <a:lnTo>
                    <a:pt x="188" y="2"/>
                  </a:lnTo>
                  <a:lnTo>
                    <a:pt x="198" y="2"/>
                  </a:lnTo>
                  <a:lnTo>
                    <a:pt x="209" y="6"/>
                  </a:lnTo>
                  <a:lnTo>
                    <a:pt x="214" y="11"/>
                  </a:lnTo>
                  <a:lnTo>
                    <a:pt x="227" y="19"/>
                  </a:lnTo>
                  <a:lnTo>
                    <a:pt x="246" y="26"/>
                  </a:lnTo>
                  <a:lnTo>
                    <a:pt x="242" y="30"/>
                  </a:lnTo>
                  <a:lnTo>
                    <a:pt x="246" y="41"/>
                  </a:lnTo>
                  <a:lnTo>
                    <a:pt x="242" y="52"/>
                  </a:lnTo>
                  <a:lnTo>
                    <a:pt x="246" y="67"/>
                  </a:lnTo>
                  <a:lnTo>
                    <a:pt x="252" y="194"/>
                  </a:lnTo>
                  <a:lnTo>
                    <a:pt x="252" y="229"/>
                  </a:lnTo>
                  <a:lnTo>
                    <a:pt x="237" y="229"/>
                  </a:lnTo>
                  <a:lnTo>
                    <a:pt x="237" y="235"/>
                  </a:lnTo>
                  <a:lnTo>
                    <a:pt x="108" y="170"/>
                  </a:lnTo>
                  <a:lnTo>
                    <a:pt x="88" y="177"/>
                  </a:lnTo>
                  <a:lnTo>
                    <a:pt x="78" y="183"/>
                  </a:lnTo>
                  <a:lnTo>
                    <a:pt x="65" y="175"/>
                  </a:lnTo>
                  <a:lnTo>
                    <a:pt x="43" y="168"/>
                  </a:lnTo>
                  <a:lnTo>
                    <a:pt x="34" y="155"/>
                  </a:lnTo>
                  <a:lnTo>
                    <a:pt x="24" y="149"/>
                  </a:lnTo>
                  <a:lnTo>
                    <a:pt x="15" y="153"/>
                  </a:lnTo>
                  <a:lnTo>
                    <a:pt x="11" y="144"/>
                  </a:lnTo>
                  <a:lnTo>
                    <a:pt x="11" y="138"/>
                  </a:lnTo>
                  <a:lnTo>
                    <a:pt x="0" y="123"/>
                  </a:lnTo>
                  <a:lnTo>
                    <a:pt x="9" y="114"/>
                  </a:lnTo>
                  <a:lnTo>
                    <a:pt x="4" y="99"/>
                  </a:lnTo>
                  <a:lnTo>
                    <a:pt x="9" y="90"/>
                  </a:lnTo>
                  <a:lnTo>
                    <a:pt x="4" y="71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5" name="Freeform 179"/>
            <p:cNvSpPr>
              <a:spLocks noChangeAspect="1"/>
            </p:cNvSpPr>
            <p:nvPr/>
          </p:nvSpPr>
          <p:spPr bwMode="auto">
            <a:xfrm>
              <a:off x="3372" y="2891"/>
              <a:ext cx="139" cy="239"/>
            </a:xfrm>
            <a:custGeom>
              <a:avLst/>
              <a:gdLst>
                <a:gd name="T0" fmla="*/ 226 w 125"/>
                <a:gd name="T1" fmla="*/ 320 h 235"/>
                <a:gd name="T2" fmla="*/ 4 w 125"/>
                <a:gd name="T3" fmla="*/ 300 h 235"/>
                <a:gd name="T4" fmla="*/ 2 w 125"/>
                <a:gd name="T5" fmla="*/ 264 h 235"/>
                <a:gd name="T6" fmla="*/ 4 w 125"/>
                <a:gd name="T7" fmla="*/ 227 h 235"/>
                <a:gd name="T8" fmla="*/ 226 w 125"/>
                <a:gd name="T9" fmla="*/ 190 h 235"/>
                <a:gd name="T10" fmla="*/ 226 w 125"/>
                <a:gd name="T11" fmla="*/ 177 h 235"/>
                <a:gd name="T12" fmla="*/ 165 w 125"/>
                <a:gd name="T13" fmla="*/ 157 h 235"/>
                <a:gd name="T14" fmla="*/ 226 w 125"/>
                <a:gd name="T15" fmla="*/ 111 h 235"/>
                <a:gd name="T16" fmla="*/ 328 w 125"/>
                <a:gd name="T17" fmla="*/ 89 h 235"/>
                <a:gd name="T18" fmla="*/ 439 w 125"/>
                <a:gd name="T19" fmla="*/ 89 h 235"/>
                <a:gd name="T20" fmla="*/ 502 w 125"/>
                <a:gd name="T21" fmla="*/ 84 h 235"/>
                <a:gd name="T22" fmla="*/ 540 w 125"/>
                <a:gd name="T23" fmla="*/ 80 h 235"/>
                <a:gd name="T24" fmla="*/ 667 w 125"/>
                <a:gd name="T25" fmla="*/ 80 h 235"/>
                <a:gd name="T26" fmla="*/ 681 w 125"/>
                <a:gd name="T27" fmla="*/ 74 h 235"/>
                <a:gd name="T28" fmla="*/ 746 w 125"/>
                <a:gd name="T29" fmla="*/ 72 h 235"/>
                <a:gd name="T30" fmla="*/ 852 w 125"/>
                <a:gd name="T31" fmla="*/ 65 h 235"/>
                <a:gd name="T32" fmla="*/ 807 w 125"/>
                <a:gd name="T33" fmla="*/ 56 h 235"/>
                <a:gd name="T34" fmla="*/ 852 w 125"/>
                <a:gd name="T35" fmla="*/ 56 h 235"/>
                <a:gd name="T36" fmla="*/ 872 w 125"/>
                <a:gd name="T37" fmla="*/ 26 h 235"/>
                <a:gd name="T38" fmla="*/ 936 w 125"/>
                <a:gd name="T39" fmla="*/ 23 h 235"/>
                <a:gd name="T40" fmla="*/ 982 w 125"/>
                <a:gd name="T41" fmla="*/ 17 h 235"/>
                <a:gd name="T42" fmla="*/ 1026 w 125"/>
                <a:gd name="T43" fmla="*/ 6 h 235"/>
                <a:gd name="T44" fmla="*/ 1030 w 125"/>
                <a:gd name="T45" fmla="*/ 6 h 235"/>
                <a:gd name="T46" fmla="*/ 1092 w 125"/>
                <a:gd name="T47" fmla="*/ 11 h 235"/>
                <a:gd name="T48" fmla="*/ 1203 w 125"/>
                <a:gd name="T49" fmla="*/ 59 h 235"/>
                <a:gd name="T50" fmla="*/ 1158 w 125"/>
                <a:gd name="T51" fmla="*/ 87 h 235"/>
                <a:gd name="T52" fmla="*/ 1092 w 125"/>
                <a:gd name="T53" fmla="*/ 80 h 235"/>
                <a:gd name="T54" fmla="*/ 1134 w 125"/>
                <a:gd name="T55" fmla="*/ 101 h 235"/>
                <a:gd name="T56" fmla="*/ 1030 w 125"/>
                <a:gd name="T57" fmla="*/ 135 h 235"/>
                <a:gd name="T58" fmla="*/ 746 w 125"/>
                <a:gd name="T59" fmla="*/ 244 h 235"/>
                <a:gd name="T60" fmla="*/ 486 w 125"/>
                <a:gd name="T61" fmla="*/ 320 h 235"/>
                <a:gd name="T62" fmla="*/ 295 w 125"/>
                <a:gd name="T63" fmla="*/ 327 h 23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5"/>
                <a:gd name="T97" fmla="*/ 0 h 235"/>
                <a:gd name="T98" fmla="*/ 125 w 125"/>
                <a:gd name="T99" fmla="*/ 235 h 23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5" h="235">
                  <a:moveTo>
                    <a:pt x="30" y="235"/>
                  </a:moveTo>
                  <a:lnTo>
                    <a:pt x="23" y="229"/>
                  </a:lnTo>
                  <a:lnTo>
                    <a:pt x="10" y="224"/>
                  </a:lnTo>
                  <a:lnTo>
                    <a:pt x="4" y="213"/>
                  </a:lnTo>
                  <a:lnTo>
                    <a:pt x="4" y="194"/>
                  </a:lnTo>
                  <a:lnTo>
                    <a:pt x="2" y="190"/>
                  </a:lnTo>
                  <a:lnTo>
                    <a:pt x="0" y="170"/>
                  </a:lnTo>
                  <a:lnTo>
                    <a:pt x="4" y="162"/>
                  </a:lnTo>
                  <a:lnTo>
                    <a:pt x="8" y="159"/>
                  </a:lnTo>
                  <a:lnTo>
                    <a:pt x="23" y="136"/>
                  </a:lnTo>
                  <a:lnTo>
                    <a:pt x="23" y="134"/>
                  </a:lnTo>
                  <a:lnTo>
                    <a:pt x="23" y="127"/>
                  </a:lnTo>
                  <a:lnTo>
                    <a:pt x="21" y="121"/>
                  </a:lnTo>
                  <a:lnTo>
                    <a:pt x="17" y="114"/>
                  </a:lnTo>
                  <a:lnTo>
                    <a:pt x="17" y="101"/>
                  </a:lnTo>
                  <a:lnTo>
                    <a:pt x="23" y="80"/>
                  </a:lnTo>
                  <a:lnTo>
                    <a:pt x="26" y="71"/>
                  </a:lnTo>
                  <a:lnTo>
                    <a:pt x="34" y="69"/>
                  </a:lnTo>
                  <a:lnTo>
                    <a:pt x="38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51" y="64"/>
                  </a:lnTo>
                  <a:lnTo>
                    <a:pt x="56" y="67"/>
                  </a:lnTo>
                  <a:lnTo>
                    <a:pt x="54" y="60"/>
                  </a:lnTo>
                  <a:lnTo>
                    <a:pt x="67" y="54"/>
                  </a:lnTo>
                  <a:lnTo>
                    <a:pt x="67" y="60"/>
                  </a:lnTo>
                  <a:lnTo>
                    <a:pt x="73" y="56"/>
                  </a:lnTo>
                  <a:lnTo>
                    <a:pt x="69" y="54"/>
                  </a:lnTo>
                  <a:lnTo>
                    <a:pt x="75" y="45"/>
                  </a:lnTo>
                  <a:lnTo>
                    <a:pt x="75" y="52"/>
                  </a:lnTo>
                  <a:lnTo>
                    <a:pt x="82" y="45"/>
                  </a:lnTo>
                  <a:lnTo>
                    <a:pt x="86" y="45"/>
                  </a:lnTo>
                  <a:lnTo>
                    <a:pt x="79" y="41"/>
                  </a:lnTo>
                  <a:lnTo>
                    <a:pt x="82" y="36"/>
                  </a:lnTo>
                  <a:lnTo>
                    <a:pt x="86" y="39"/>
                  </a:lnTo>
                  <a:lnTo>
                    <a:pt x="86" y="36"/>
                  </a:lnTo>
                  <a:lnTo>
                    <a:pt x="82" y="26"/>
                  </a:lnTo>
                  <a:lnTo>
                    <a:pt x="88" y="26"/>
                  </a:lnTo>
                  <a:lnTo>
                    <a:pt x="88" y="30"/>
                  </a:lnTo>
                  <a:lnTo>
                    <a:pt x="95" y="23"/>
                  </a:lnTo>
                  <a:lnTo>
                    <a:pt x="97" y="26"/>
                  </a:lnTo>
                  <a:lnTo>
                    <a:pt x="99" y="17"/>
                  </a:lnTo>
                  <a:lnTo>
                    <a:pt x="97" y="6"/>
                  </a:lnTo>
                  <a:lnTo>
                    <a:pt x="103" y="6"/>
                  </a:lnTo>
                  <a:lnTo>
                    <a:pt x="105" y="0"/>
                  </a:lnTo>
                  <a:lnTo>
                    <a:pt x="105" y="6"/>
                  </a:lnTo>
                  <a:lnTo>
                    <a:pt x="110" y="6"/>
                  </a:lnTo>
                  <a:lnTo>
                    <a:pt x="110" y="11"/>
                  </a:lnTo>
                  <a:lnTo>
                    <a:pt x="114" y="15"/>
                  </a:lnTo>
                  <a:lnTo>
                    <a:pt x="121" y="39"/>
                  </a:lnTo>
                  <a:lnTo>
                    <a:pt x="125" y="54"/>
                  </a:lnTo>
                  <a:lnTo>
                    <a:pt x="118" y="67"/>
                  </a:lnTo>
                  <a:lnTo>
                    <a:pt x="114" y="60"/>
                  </a:lnTo>
                  <a:lnTo>
                    <a:pt x="110" y="60"/>
                  </a:lnTo>
                  <a:lnTo>
                    <a:pt x="110" y="67"/>
                  </a:lnTo>
                  <a:lnTo>
                    <a:pt x="114" y="75"/>
                  </a:lnTo>
                  <a:lnTo>
                    <a:pt x="105" y="86"/>
                  </a:lnTo>
                  <a:lnTo>
                    <a:pt x="105" y="95"/>
                  </a:lnTo>
                  <a:lnTo>
                    <a:pt x="95" y="131"/>
                  </a:lnTo>
                  <a:lnTo>
                    <a:pt x="75" y="175"/>
                  </a:lnTo>
                  <a:lnTo>
                    <a:pt x="56" y="224"/>
                  </a:lnTo>
                  <a:lnTo>
                    <a:pt x="49" y="229"/>
                  </a:lnTo>
                  <a:lnTo>
                    <a:pt x="38" y="231"/>
                  </a:lnTo>
                  <a:lnTo>
                    <a:pt x="30" y="23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6" name="Freeform 180"/>
            <p:cNvSpPr>
              <a:spLocks noChangeAspect="1"/>
            </p:cNvSpPr>
            <p:nvPr/>
          </p:nvSpPr>
          <p:spPr bwMode="auto">
            <a:xfrm>
              <a:off x="3196" y="2842"/>
              <a:ext cx="57" cy="134"/>
            </a:xfrm>
            <a:custGeom>
              <a:avLst/>
              <a:gdLst>
                <a:gd name="T0" fmla="*/ 2 w 52"/>
                <a:gd name="T1" fmla="*/ 0 h 132"/>
                <a:gd name="T2" fmla="*/ 79 w 52"/>
                <a:gd name="T3" fmla="*/ 5 h 132"/>
                <a:gd name="T4" fmla="*/ 119 w 52"/>
                <a:gd name="T5" fmla="*/ 7 h 132"/>
                <a:gd name="T6" fmla="*/ 189 w 52"/>
                <a:gd name="T7" fmla="*/ 28 h 132"/>
                <a:gd name="T8" fmla="*/ 189 w 52"/>
                <a:gd name="T9" fmla="*/ 57 h 132"/>
                <a:gd name="T10" fmla="*/ 215 w 52"/>
                <a:gd name="T11" fmla="*/ 59 h 132"/>
                <a:gd name="T12" fmla="*/ 189 w 52"/>
                <a:gd name="T13" fmla="*/ 70 h 132"/>
                <a:gd name="T14" fmla="*/ 189 w 52"/>
                <a:gd name="T15" fmla="*/ 91 h 132"/>
                <a:gd name="T16" fmla="*/ 236 w 52"/>
                <a:gd name="T17" fmla="*/ 91 h 132"/>
                <a:gd name="T18" fmla="*/ 299 w 52"/>
                <a:gd name="T19" fmla="*/ 98 h 132"/>
                <a:gd name="T20" fmla="*/ 328 w 52"/>
                <a:gd name="T21" fmla="*/ 118 h 132"/>
                <a:gd name="T22" fmla="*/ 375 w 52"/>
                <a:gd name="T23" fmla="*/ 126 h 132"/>
                <a:gd name="T24" fmla="*/ 366 w 52"/>
                <a:gd name="T25" fmla="*/ 142 h 132"/>
                <a:gd name="T26" fmla="*/ 328 w 52"/>
                <a:gd name="T27" fmla="*/ 152 h 132"/>
                <a:gd name="T28" fmla="*/ 299 w 52"/>
                <a:gd name="T29" fmla="*/ 157 h 132"/>
                <a:gd name="T30" fmla="*/ 299 w 52"/>
                <a:gd name="T31" fmla="*/ 157 h 132"/>
                <a:gd name="T32" fmla="*/ 299 w 52"/>
                <a:gd name="T33" fmla="*/ 165 h 132"/>
                <a:gd name="T34" fmla="*/ 273 w 52"/>
                <a:gd name="T35" fmla="*/ 175 h 132"/>
                <a:gd name="T36" fmla="*/ 236 w 52"/>
                <a:gd name="T37" fmla="*/ 165 h 132"/>
                <a:gd name="T38" fmla="*/ 189 w 52"/>
                <a:gd name="T39" fmla="*/ 157 h 132"/>
                <a:gd name="T40" fmla="*/ 179 w 52"/>
                <a:gd name="T41" fmla="*/ 150 h 132"/>
                <a:gd name="T42" fmla="*/ 189 w 52"/>
                <a:gd name="T43" fmla="*/ 142 h 132"/>
                <a:gd name="T44" fmla="*/ 189 w 52"/>
                <a:gd name="T45" fmla="*/ 118 h 132"/>
                <a:gd name="T46" fmla="*/ 164 w 52"/>
                <a:gd name="T47" fmla="*/ 114 h 132"/>
                <a:gd name="T48" fmla="*/ 79 w 52"/>
                <a:gd name="T49" fmla="*/ 118 h 132"/>
                <a:gd name="T50" fmla="*/ 42 w 52"/>
                <a:gd name="T51" fmla="*/ 98 h 132"/>
                <a:gd name="T52" fmla="*/ 2 w 52"/>
                <a:gd name="T53" fmla="*/ 98 h 132"/>
                <a:gd name="T54" fmla="*/ 0 w 52"/>
                <a:gd name="T55" fmla="*/ 91 h 132"/>
                <a:gd name="T56" fmla="*/ 2 w 52"/>
                <a:gd name="T57" fmla="*/ 83 h 132"/>
                <a:gd name="T58" fmla="*/ 2 w 52"/>
                <a:gd name="T59" fmla="*/ 74 h 132"/>
                <a:gd name="T60" fmla="*/ 79 w 52"/>
                <a:gd name="T61" fmla="*/ 74 h 132"/>
                <a:gd name="T62" fmla="*/ 79 w 52"/>
                <a:gd name="T63" fmla="*/ 72 h 132"/>
                <a:gd name="T64" fmla="*/ 42 w 52"/>
                <a:gd name="T65" fmla="*/ 68 h 132"/>
                <a:gd name="T66" fmla="*/ 79 w 52"/>
                <a:gd name="T67" fmla="*/ 63 h 132"/>
                <a:gd name="T68" fmla="*/ 79 w 52"/>
                <a:gd name="T69" fmla="*/ 53 h 132"/>
                <a:gd name="T70" fmla="*/ 79 w 52"/>
                <a:gd name="T71" fmla="*/ 24 h 132"/>
                <a:gd name="T72" fmla="*/ 109 w 52"/>
                <a:gd name="T73" fmla="*/ 22 h 132"/>
                <a:gd name="T74" fmla="*/ 109 w 52"/>
                <a:gd name="T75" fmla="*/ 20 h 132"/>
                <a:gd name="T76" fmla="*/ 79 w 52"/>
                <a:gd name="T77" fmla="*/ 13 h 132"/>
                <a:gd name="T78" fmla="*/ 42 w 52"/>
                <a:gd name="T79" fmla="*/ 7 h 132"/>
                <a:gd name="T80" fmla="*/ 2 w 52"/>
                <a:gd name="T81" fmla="*/ 0 h 1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2"/>
                <a:gd name="T124" fmla="*/ 0 h 132"/>
                <a:gd name="T125" fmla="*/ 52 w 52"/>
                <a:gd name="T126" fmla="*/ 132 h 1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2" h="132">
                  <a:moveTo>
                    <a:pt x="2" y="0"/>
                  </a:moveTo>
                  <a:lnTo>
                    <a:pt x="11" y="5"/>
                  </a:lnTo>
                  <a:lnTo>
                    <a:pt x="17" y="7"/>
                  </a:lnTo>
                  <a:lnTo>
                    <a:pt x="26" y="28"/>
                  </a:lnTo>
                  <a:lnTo>
                    <a:pt x="26" y="37"/>
                  </a:lnTo>
                  <a:lnTo>
                    <a:pt x="30" y="39"/>
                  </a:lnTo>
                  <a:lnTo>
                    <a:pt x="26" y="50"/>
                  </a:lnTo>
                  <a:lnTo>
                    <a:pt x="26" y="71"/>
                  </a:lnTo>
                  <a:lnTo>
                    <a:pt x="32" y="71"/>
                  </a:lnTo>
                  <a:lnTo>
                    <a:pt x="41" y="78"/>
                  </a:lnTo>
                  <a:lnTo>
                    <a:pt x="45" y="89"/>
                  </a:lnTo>
                  <a:lnTo>
                    <a:pt x="52" y="93"/>
                  </a:lnTo>
                  <a:lnTo>
                    <a:pt x="50" y="102"/>
                  </a:lnTo>
                  <a:lnTo>
                    <a:pt x="45" y="112"/>
                  </a:lnTo>
                  <a:lnTo>
                    <a:pt x="41" y="117"/>
                  </a:lnTo>
                  <a:lnTo>
                    <a:pt x="41" y="125"/>
                  </a:lnTo>
                  <a:lnTo>
                    <a:pt x="37" y="132"/>
                  </a:lnTo>
                  <a:lnTo>
                    <a:pt x="32" y="125"/>
                  </a:lnTo>
                  <a:lnTo>
                    <a:pt x="26" y="117"/>
                  </a:lnTo>
                  <a:lnTo>
                    <a:pt x="24" y="110"/>
                  </a:lnTo>
                  <a:lnTo>
                    <a:pt x="26" y="102"/>
                  </a:lnTo>
                  <a:lnTo>
                    <a:pt x="26" y="89"/>
                  </a:lnTo>
                  <a:lnTo>
                    <a:pt x="22" y="87"/>
                  </a:lnTo>
                  <a:lnTo>
                    <a:pt x="11" y="89"/>
                  </a:lnTo>
                  <a:lnTo>
                    <a:pt x="6" y="78"/>
                  </a:lnTo>
                  <a:lnTo>
                    <a:pt x="2" y="78"/>
                  </a:lnTo>
                  <a:lnTo>
                    <a:pt x="0" y="71"/>
                  </a:lnTo>
                  <a:lnTo>
                    <a:pt x="2" y="63"/>
                  </a:lnTo>
                  <a:lnTo>
                    <a:pt x="2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6" y="48"/>
                  </a:lnTo>
                  <a:lnTo>
                    <a:pt x="11" y="43"/>
                  </a:lnTo>
                  <a:lnTo>
                    <a:pt x="11" y="33"/>
                  </a:lnTo>
                  <a:lnTo>
                    <a:pt x="11" y="24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1" y="13"/>
                  </a:lnTo>
                  <a:lnTo>
                    <a:pt x="6" y="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7" name="Freeform 181"/>
            <p:cNvSpPr>
              <a:spLocks noChangeAspect="1"/>
            </p:cNvSpPr>
            <p:nvPr/>
          </p:nvSpPr>
          <p:spPr bwMode="auto">
            <a:xfrm>
              <a:off x="2390" y="2258"/>
              <a:ext cx="295" cy="257"/>
            </a:xfrm>
            <a:custGeom>
              <a:avLst/>
              <a:gdLst>
                <a:gd name="T0" fmla="*/ 1736 w 268"/>
                <a:gd name="T1" fmla="*/ 89 h 253"/>
                <a:gd name="T2" fmla="*/ 1818 w 268"/>
                <a:gd name="T3" fmla="*/ 105 h 253"/>
                <a:gd name="T4" fmla="*/ 1941 w 268"/>
                <a:gd name="T5" fmla="*/ 113 h 253"/>
                <a:gd name="T6" fmla="*/ 2020 w 268"/>
                <a:gd name="T7" fmla="*/ 135 h 253"/>
                <a:gd name="T8" fmla="*/ 2020 w 268"/>
                <a:gd name="T9" fmla="*/ 144 h 253"/>
                <a:gd name="T10" fmla="*/ 2140 w 268"/>
                <a:gd name="T11" fmla="*/ 181 h 253"/>
                <a:gd name="T12" fmla="*/ 2071 w 268"/>
                <a:gd name="T13" fmla="*/ 210 h 253"/>
                <a:gd name="T14" fmla="*/ 1976 w 268"/>
                <a:gd name="T15" fmla="*/ 224 h 253"/>
                <a:gd name="T16" fmla="*/ 1716 w 268"/>
                <a:gd name="T17" fmla="*/ 230 h 253"/>
                <a:gd name="T18" fmla="*/ 1475 w 268"/>
                <a:gd name="T19" fmla="*/ 230 h 253"/>
                <a:gd name="T20" fmla="*/ 1302 w 268"/>
                <a:gd name="T21" fmla="*/ 239 h 253"/>
                <a:gd name="T22" fmla="*/ 1183 w 268"/>
                <a:gd name="T23" fmla="*/ 259 h 253"/>
                <a:gd name="T24" fmla="*/ 1133 w 268"/>
                <a:gd name="T25" fmla="*/ 262 h 253"/>
                <a:gd name="T26" fmla="*/ 1106 w 268"/>
                <a:gd name="T27" fmla="*/ 276 h 253"/>
                <a:gd name="T28" fmla="*/ 1005 w 268"/>
                <a:gd name="T29" fmla="*/ 271 h 253"/>
                <a:gd name="T30" fmla="*/ 1005 w 268"/>
                <a:gd name="T31" fmla="*/ 284 h 253"/>
                <a:gd name="T32" fmla="*/ 961 w 268"/>
                <a:gd name="T33" fmla="*/ 306 h 253"/>
                <a:gd name="T34" fmla="*/ 873 w 268"/>
                <a:gd name="T35" fmla="*/ 310 h 253"/>
                <a:gd name="T36" fmla="*/ 873 w 268"/>
                <a:gd name="T37" fmla="*/ 328 h 253"/>
                <a:gd name="T38" fmla="*/ 797 w 268"/>
                <a:gd name="T39" fmla="*/ 338 h 253"/>
                <a:gd name="T40" fmla="*/ 746 w 268"/>
                <a:gd name="T41" fmla="*/ 331 h 253"/>
                <a:gd name="T42" fmla="*/ 690 w 268"/>
                <a:gd name="T43" fmla="*/ 333 h 253"/>
                <a:gd name="T44" fmla="*/ 668 w 268"/>
                <a:gd name="T45" fmla="*/ 345 h 253"/>
                <a:gd name="T46" fmla="*/ 598 w 268"/>
                <a:gd name="T47" fmla="*/ 333 h 253"/>
                <a:gd name="T48" fmla="*/ 492 w 268"/>
                <a:gd name="T49" fmla="*/ 333 h 253"/>
                <a:gd name="T50" fmla="*/ 467 w 268"/>
                <a:gd name="T51" fmla="*/ 325 h 253"/>
                <a:gd name="T52" fmla="*/ 424 w 268"/>
                <a:gd name="T53" fmla="*/ 312 h 253"/>
                <a:gd name="T54" fmla="*/ 370 w 268"/>
                <a:gd name="T55" fmla="*/ 288 h 253"/>
                <a:gd name="T56" fmla="*/ 310 w 268"/>
                <a:gd name="T57" fmla="*/ 298 h 253"/>
                <a:gd name="T58" fmla="*/ 193 w 268"/>
                <a:gd name="T59" fmla="*/ 310 h 253"/>
                <a:gd name="T60" fmla="*/ 119 w 268"/>
                <a:gd name="T61" fmla="*/ 298 h 253"/>
                <a:gd name="T62" fmla="*/ 108 w 268"/>
                <a:gd name="T63" fmla="*/ 288 h 253"/>
                <a:gd name="T64" fmla="*/ 61 w 268"/>
                <a:gd name="T65" fmla="*/ 271 h 253"/>
                <a:gd name="T66" fmla="*/ 0 w 268"/>
                <a:gd name="T67" fmla="*/ 262 h 253"/>
                <a:gd name="T68" fmla="*/ 0 w 268"/>
                <a:gd name="T69" fmla="*/ 247 h 253"/>
                <a:gd name="T70" fmla="*/ 41 w 268"/>
                <a:gd name="T71" fmla="*/ 236 h 253"/>
                <a:gd name="T72" fmla="*/ 74 w 268"/>
                <a:gd name="T73" fmla="*/ 217 h 253"/>
                <a:gd name="T74" fmla="*/ 179 w 268"/>
                <a:gd name="T75" fmla="*/ 220 h 253"/>
                <a:gd name="T76" fmla="*/ 348 w 268"/>
                <a:gd name="T77" fmla="*/ 220 h 253"/>
                <a:gd name="T78" fmla="*/ 831 w 268"/>
                <a:gd name="T79" fmla="*/ 224 h 253"/>
                <a:gd name="T80" fmla="*/ 831 w 268"/>
                <a:gd name="T81" fmla="*/ 198 h 253"/>
                <a:gd name="T82" fmla="*/ 961 w 268"/>
                <a:gd name="T83" fmla="*/ 0 h 25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8"/>
                <a:gd name="T127" fmla="*/ 0 h 253"/>
                <a:gd name="T128" fmla="*/ 268 w 268"/>
                <a:gd name="T129" fmla="*/ 253 h 25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8" h="253">
                  <a:moveTo>
                    <a:pt x="119" y="0"/>
                  </a:moveTo>
                  <a:lnTo>
                    <a:pt x="218" y="69"/>
                  </a:lnTo>
                  <a:lnTo>
                    <a:pt x="218" y="73"/>
                  </a:lnTo>
                  <a:lnTo>
                    <a:pt x="227" y="80"/>
                  </a:lnTo>
                  <a:lnTo>
                    <a:pt x="236" y="84"/>
                  </a:lnTo>
                  <a:lnTo>
                    <a:pt x="242" y="84"/>
                  </a:lnTo>
                  <a:lnTo>
                    <a:pt x="249" y="89"/>
                  </a:lnTo>
                  <a:lnTo>
                    <a:pt x="253" y="95"/>
                  </a:lnTo>
                  <a:lnTo>
                    <a:pt x="249" y="101"/>
                  </a:lnTo>
                  <a:lnTo>
                    <a:pt x="253" y="104"/>
                  </a:lnTo>
                  <a:lnTo>
                    <a:pt x="268" y="101"/>
                  </a:lnTo>
                  <a:lnTo>
                    <a:pt x="268" y="134"/>
                  </a:lnTo>
                  <a:lnTo>
                    <a:pt x="264" y="138"/>
                  </a:lnTo>
                  <a:lnTo>
                    <a:pt x="259" y="153"/>
                  </a:lnTo>
                  <a:lnTo>
                    <a:pt x="255" y="164"/>
                  </a:lnTo>
                  <a:lnTo>
                    <a:pt x="249" y="164"/>
                  </a:lnTo>
                  <a:lnTo>
                    <a:pt x="218" y="164"/>
                  </a:lnTo>
                  <a:lnTo>
                    <a:pt x="214" y="168"/>
                  </a:lnTo>
                  <a:lnTo>
                    <a:pt x="199" y="173"/>
                  </a:lnTo>
                  <a:lnTo>
                    <a:pt x="184" y="168"/>
                  </a:lnTo>
                  <a:lnTo>
                    <a:pt x="179" y="175"/>
                  </a:lnTo>
                  <a:lnTo>
                    <a:pt x="164" y="175"/>
                  </a:lnTo>
                  <a:lnTo>
                    <a:pt x="162" y="184"/>
                  </a:lnTo>
                  <a:lnTo>
                    <a:pt x="149" y="190"/>
                  </a:lnTo>
                  <a:lnTo>
                    <a:pt x="147" y="192"/>
                  </a:lnTo>
                  <a:lnTo>
                    <a:pt x="141" y="192"/>
                  </a:lnTo>
                  <a:lnTo>
                    <a:pt x="145" y="199"/>
                  </a:lnTo>
                  <a:lnTo>
                    <a:pt x="138" y="203"/>
                  </a:lnTo>
                  <a:lnTo>
                    <a:pt x="132" y="196"/>
                  </a:lnTo>
                  <a:lnTo>
                    <a:pt x="125" y="199"/>
                  </a:lnTo>
                  <a:lnTo>
                    <a:pt x="130" y="209"/>
                  </a:lnTo>
                  <a:lnTo>
                    <a:pt x="125" y="209"/>
                  </a:lnTo>
                  <a:lnTo>
                    <a:pt x="125" y="214"/>
                  </a:lnTo>
                  <a:lnTo>
                    <a:pt x="119" y="222"/>
                  </a:lnTo>
                  <a:lnTo>
                    <a:pt x="115" y="222"/>
                  </a:lnTo>
                  <a:lnTo>
                    <a:pt x="108" y="225"/>
                  </a:lnTo>
                  <a:lnTo>
                    <a:pt x="110" y="233"/>
                  </a:lnTo>
                  <a:lnTo>
                    <a:pt x="108" y="240"/>
                  </a:lnTo>
                  <a:lnTo>
                    <a:pt x="108" y="244"/>
                  </a:lnTo>
                  <a:lnTo>
                    <a:pt x="100" y="248"/>
                  </a:lnTo>
                  <a:lnTo>
                    <a:pt x="95" y="248"/>
                  </a:lnTo>
                  <a:lnTo>
                    <a:pt x="93" y="242"/>
                  </a:lnTo>
                  <a:lnTo>
                    <a:pt x="89" y="242"/>
                  </a:lnTo>
                  <a:lnTo>
                    <a:pt x="87" y="244"/>
                  </a:lnTo>
                  <a:lnTo>
                    <a:pt x="84" y="248"/>
                  </a:lnTo>
                  <a:lnTo>
                    <a:pt x="84" y="253"/>
                  </a:lnTo>
                  <a:lnTo>
                    <a:pt x="76" y="248"/>
                  </a:lnTo>
                  <a:lnTo>
                    <a:pt x="74" y="244"/>
                  </a:lnTo>
                  <a:lnTo>
                    <a:pt x="69" y="253"/>
                  </a:lnTo>
                  <a:lnTo>
                    <a:pt x="61" y="244"/>
                  </a:lnTo>
                  <a:lnTo>
                    <a:pt x="61" y="240"/>
                  </a:lnTo>
                  <a:lnTo>
                    <a:pt x="59" y="237"/>
                  </a:lnTo>
                  <a:lnTo>
                    <a:pt x="59" y="229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46" y="212"/>
                  </a:lnTo>
                  <a:lnTo>
                    <a:pt x="43" y="214"/>
                  </a:lnTo>
                  <a:lnTo>
                    <a:pt x="39" y="218"/>
                  </a:lnTo>
                  <a:lnTo>
                    <a:pt x="35" y="218"/>
                  </a:lnTo>
                  <a:lnTo>
                    <a:pt x="24" y="225"/>
                  </a:lnTo>
                  <a:lnTo>
                    <a:pt x="20" y="218"/>
                  </a:lnTo>
                  <a:lnTo>
                    <a:pt x="15" y="218"/>
                  </a:lnTo>
                  <a:lnTo>
                    <a:pt x="13" y="214"/>
                  </a:lnTo>
                  <a:lnTo>
                    <a:pt x="13" y="212"/>
                  </a:lnTo>
                  <a:lnTo>
                    <a:pt x="13" y="205"/>
                  </a:lnTo>
                  <a:lnTo>
                    <a:pt x="7" y="199"/>
                  </a:lnTo>
                  <a:lnTo>
                    <a:pt x="5" y="199"/>
                  </a:lnTo>
                  <a:lnTo>
                    <a:pt x="0" y="192"/>
                  </a:lnTo>
                  <a:lnTo>
                    <a:pt x="5" y="184"/>
                  </a:lnTo>
                  <a:lnTo>
                    <a:pt x="0" y="181"/>
                  </a:lnTo>
                  <a:lnTo>
                    <a:pt x="0" y="175"/>
                  </a:lnTo>
                  <a:lnTo>
                    <a:pt x="5" y="173"/>
                  </a:lnTo>
                  <a:lnTo>
                    <a:pt x="5" y="164"/>
                  </a:lnTo>
                  <a:lnTo>
                    <a:pt x="9" y="158"/>
                  </a:lnTo>
                  <a:lnTo>
                    <a:pt x="20" y="164"/>
                  </a:lnTo>
                  <a:lnTo>
                    <a:pt x="22" y="160"/>
                  </a:lnTo>
                  <a:lnTo>
                    <a:pt x="39" y="164"/>
                  </a:lnTo>
                  <a:lnTo>
                    <a:pt x="43" y="160"/>
                  </a:lnTo>
                  <a:lnTo>
                    <a:pt x="46" y="164"/>
                  </a:lnTo>
                  <a:lnTo>
                    <a:pt x="104" y="164"/>
                  </a:lnTo>
                  <a:lnTo>
                    <a:pt x="110" y="149"/>
                  </a:lnTo>
                  <a:lnTo>
                    <a:pt x="104" y="145"/>
                  </a:lnTo>
                  <a:lnTo>
                    <a:pt x="93" y="0"/>
                  </a:lnTo>
                  <a:lnTo>
                    <a:pt x="119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8" name="Freeform 182"/>
            <p:cNvSpPr>
              <a:spLocks noChangeAspect="1"/>
            </p:cNvSpPr>
            <p:nvPr/>
          </p:nvSpPr>
          <p:spPr bwMode="auto">
            <a:xfrm>
              <a:off x="2301" y="2065"/>
              <a:ext cx="286" cy="263"/>
            </a:xfrm>
            <a:custGeom>
              <a:avLst/>
              <a:gdLst>
                <a:gd name="T0" fmla="*/ 2091 w 259"/>
                <a:gd name="T1" fmla="*/ 11 h 259"/>
                <a:gd name="T2" fmla="*/ 2126 w 259"/>
                <a:gd name="T3" fmla="*/ 20 h 259"/>
                <a:gd name="T4" fmla="*/ 2159 w 259"/>
                <a:gd name="T5" fmla="*/ 28 h 259"/>
                <a:gd name="T6" fmla="*/ 2159 w 259"/>
                <a:gd name="T7" fmla="*/ 57 h 259"/>
                <a:gd name="T8" fmla="*/ 2186 w 259"/>
                <a:gd name="T9" fmla="*/ 70 h 259"/>
                <a:gd name="T10" fmla="*/ 2222 w 259"/>
                <a:gd name="T11" fmla="*/ 76 h 259"/>
                <a:gd name="T12" fmla="*/ 2222 w 259"/>
                <a:gd name="T13" fmla="*/ 81 h 259"/>
                <a:gd name="T14" fmla="*/ 2222 w 259"/>
                <a:gd name="T15" fmla="*/ 85 h 259"/>
                <a:gd name="T16" fmla="*/ 1972 w 259"/>
                <a:gd name="T17" fmla="*/ 89 h 259"/>
                <a:gd name="T18" fmla="*/ 1972 w 259"/>
                <a:gd name="T19" fmla="*/ 93 h 259"/>
                <a:gd name="T20" fmla="*/ 1872 w 259"/>
                <a:gd name="T21" fmla="*/ 96 h 259"/>
                <a:gd name="T22" fmla="*/ 1872 w 259"/>
                <a:gd name="T23" fmla="*/ 102 h 259"/>
                <a:gd name="T24" fmla="*/ 1872 w 259"/>
                <a:gd name="T25" fmla="*/ 114 h 259"/>
                <a:gd name="T26" fmla="*/ 1829 w 259"/>
                <a:gd name="T27" fmla="*/ 124 h 259"/>
                <a:gd name="T28" fmla="*/ 1665 w 259"/>
                <a:gd name="T29" fmla="*/ 148 h 259"/>
                <a:gd name="T30" fmla="*/ 1553 w 259"/>
                <a:gd name="T31" fmla="*/ 150 h 259"/>
                <a:gd name="T32" fmla="*/ 1495 w 259"/>
                <a:gd name="T33" fmla="*/ 148 h 259"/>
                <a:gd name="T34" fmla="*/ 1449 w 259"/>
                <a:gd name="T35" fmla="*/ 150 h 259"/>
                <a:gd name="T36" fmla="*/ 1378 w 259"/>
                <a:gd name="T37" fmla="*/ 150 h 259"/>
                <a:gd name="T38" fmla="*/ 1237 w 259"/>
                <a:gd name="T39" fmla="*/ 161 h 259"/>
                <a:gd name="T40" fmla="*/ 1191 w 259"/>
                <a:gd name="T41" fmla="*/ 163 h 259"/>
                <a:gd name="T42" fmla="*/ 1191 w 259"/>
                <a:gd name="T43" fmla="*/ 202 h 259"/>
                <a:gd name="T44" fmla="*/ 1191 w 259"/>
                <a:gd name="T45" fmla="*/ 235 h 259"/>
                <a:gd name="T46" fmla="*/ 724 w 259"/>
                <a:gd name="T47" fmla="*/ 237 h 259"/>
                <a:gd name="T48" fmla="*/ 724 w 259"/>
                <a:gd name="T49" fmla="*/ 292 h 259"/>
                <a:gd name="T50" fmla="*/ 594 w 259"/>
                <a:gd name="T51" fmla="*/ 298 h 259"/>
                <a:gd name="T52" fmla="*/ 564 w 259"/>
                <a:gd name="T53" fmla="*/ 307 h 259"/>
                <a:gd name="T54" fmla="*/ 564 w 259"/>
                <a:gd name="T55" fmla="*/ 315 h 259"/>
                <a:gd name="T56" fmla="*/ 564 w 259"/>
                <a:gd name="T57" fmla="*/ 343 h 259"/>
                <a:gd name="T58" fmla="*/ 42 w 259"/>
                <a:gd name="T59" fmla="*/ 343 h 259"/>
                <a:gd name="T60" fmla="*/ 0 w 259"/>
                <a:gd name="T61" fmla="*/ 350 h 259"/>
                <a:gd name="T62" fmla="*/ 42 w 259"/>
                <a:gd name="T63" fmla="*/ 332 h 259"/>
                <a:gd name="T64" fmla="*/ 75 w 259"/>
                <a:gd name="T65" fmla="*/ 320 h 259"/>
                <a:gd name="T66" fmla="*/ 113 w 259"/>
                <a:gd name="T67" fmla="*/ 315 h 259"/>
                <a:gd name="T68" fmla="*/ 131 w 259"/>
                <a:gd name="T69" fmla="*/ 307 h 259"/>
                <a:gd name="T70" fmla="*/ 177 w 259"/>
                <a:gd name="T71" fmla="*/ 295 h 259"/>
                <a:gd name="T72" fmla="*/ 205 w 259"/>
                <a:gd name="T73" fmla="*/ 283 h 259"/>
                <a:gd name="T74" fmla="*/ 311 w 259"/>
                <a:gd name="T75" fmla="*/ 267 h 259"/>
                <a:gd name="T76" fmla="*/ 311 w 259"/>
                <a:gd name="T77" fmla="*/ 249 h 259"/>
                <a:gd name="T78" fmla="*/ 379 w 259"/>
                <a:gd name="T79" fmla="*/ 235 h 259"/>
                <a:gd name="T80" fmla="*/ 502 w 259"/>
                <a:gd name="T81" fmla="*/ 211 h 259"/>
                <a:gd name="T82" fmla="*/ 594 w 259"/>
                <a:gd name="T83" fmla="*/ 189 h 259"/>
                <a:gd name="T84" fmla="*/ 745 w 259"/>
                <a:gd name="T85" fmla="*/ 183 h 259"/>
                <a:gd name="T86" fmla="*/ 847 w 259"/>
                <a:gd name="T87" fmla="*/ 174 h 259"/>
                <a:gd name="T88" fmla="*/ 985 w 259"/>
                <a:gd name="T89" fmla="*/ 154 h 259"/>
                <a:gd name="T90" fmla="*/ 1044 w 259"/>
                <a:gd name="T91" fmla="*/ 139 h 259"/>
                <a:gd name="T92" fmla="*/ 1023 w 259"/>
                <a:gd name="T93" fmla="*/ 124 h 259"/>
                <a:gd name="T94" fmla="*/ 1023 w 259"/>
                <a:gd name="T95" fmla="*/ 96 h 259"/>
                <a:gd name="T96" fmla="*/ 1083 w 259"/>
                <a:gd name="T97" fmla="*/ 89 h 259"/>
                <a:gd name="T98" fmla="*/ 1110 w 259"/>
                <a:gd name="T99" fmla="*/ 78 h 259"/>
                <a:gd name="T100" fmla="*/ 1191 w 259"/>
                <a:gd name="T101" fmla="*/ 65 h 259"/>
                <a:gd name="T102" fmla="*/ 1309 w 259"/>
                <a:gd name="T103" fmla="*/ 61 h 259"/>
                <a:gd name="T104" fmla="*/ 1449 w 259"/>
                <a:gd name="T105" fmla="*/ 30 h 259"/>
                <a:gd name="T106" fmla="*/ 1495 w 259"/>
                <a:gd name="T107" fmla="*/ 15 h 259"/>
                <a:gd name="T108" fmla="*/ 1553 w 259"/>
                <a:gd name="T109" fmla="*/ 0 h 259"/>
                <a:gd name="T110" fmla="*/ 1617 w 259"/>
                <a:gd name="T111" fmla="*/ 0 h 259"/>
                <a:gd name="T112" fmla="*/ 1703 w 259"/>
                <a:gd name="T113" fmla="*/ 11 h 259"/>
                <a:gd name="T114" fmla="*/ 1839 w 259"/>
                <a:gd name="T115" fmla="*/ 11 h 259"/>
                <a:gd name="T116" fmla="*/ 1925 w 259"/>
                <a:gd name="T117" fmla="*/ 11 h 259"/>
                <a:gd name="T118" fmla="*/ 1972 w 259"/>
                <a:gd name="T119" fmla="*/ 7 h 259"/>
                <a:gd name="T120" fmla="*/ 2012 w 259"/>
                <a:gd name="T121" fmla="*/ 11 h 259"/>
                <a:gd name="T122" fmla="*/ 2091 w 259"/>
                <a:gd name="T123" fmla="*/ 11 h 25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9"/>
                <a:gd name="T187" fmla="*/ 0 h 259"/>
                <a:gd name="T188" fmla="*/ 259 w 259"/>
                <a:gd name="T189" fmla="*/ 259 h 25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9" h="259">
                  <a:moveTo>
                    <a:pt x="244" y="11"/>
                  </a:moveTo>
                  <a:lnTo>
                    <a:pt x="249" y="20"/>
                  </a:lnTo>
                  <a:lnTo>
                    <a:pt x="253" y="28"/>
                  </a:lnTo>
                  <a:lnTo>
                    <a:pt x="253" y="37"/>
                  </a:lnTo>
                  <a:lnTo>
                    <a:pt x="255" y="50"/>
                  </a:lnTo>
                  <a:lnTo>
                    <a:pt x="259" y="56"/>
                  </a:lnTo>
                  <a:lnTo>
                    <a:pt x="259" y="61"/>
                  </a:lnTo>
                  <a:lnTo>
                    <a:pt x="259" y="65"/>
                  </a:lnTo>
                  <a:lnTo>
                    <a:pt x="231" y="69"/>
                  </a:lnTo>
                  <a:lnTo>
                    <a:pt x="231" y="73"/>
                  </a:lnTo>
                  <a:lnTo>
                    <a:pt x="218" y="76"/>
                  </a:lnTo>
                  <a:lnTo>
                    <a:pt x="218" y="80"/>
                  </a:lnTo>
                  <a:lnTo>
                    <a:pt x="218" y="86"/>
                  </a:lnTo>
                  <a:lnTo>
                    <a:pt x="214" y="91"/>
                  </a:lnTo>
                  <a:lnTo>
                    <a:pt x="195" y="108"/>
                  </a:lnTo>
                  <a:lnTo>
                    <a:pt x="182" y="110"/>
                  </a:lnTo>
                  <a:lnTo>
                    <a:pt x="175" y="108"/>
                  </a:lnTo>
                  <a:lnTo>
                    <a:pt x="169" y="110"/>
                  </a:lnTo>
                  <a:lnTo>
                    <a:pt x="160" y="110"/>
                  </a:lnTo>
                  <a:lnTo>
                    <a:pt x="145" y="121"/>
                  </a:lnTo>
                  <a:lnTo>
                    <a:pt x="139" y="123"/>
                  </a:lnTo>
                  <a:lnTo>
                    <a:pt x="139" y="149"/>
                  </a:lnTo>
                  <a:lnTo>
                    <a:pt x="139" y="173"/>
                  </a:lnTo>
                  <a:lnTo>
                    <a:pt x="85" y="175"/>
                  </a:lnTo>
                  <a:lnTo>
                    <a:pt x="85" y="216"/>
                  </a:lnTo>
                  <a:lnTo>
                    <a:pt x="70" y="220"/>
                  </a:lnTo>
                  <a:lnTo>
                    <a:pt x="65" y="225"/>
                  </a:lnTo>
                  <a:lnTo>
                    <a:pt x="65" y="231"/>
                  </a:lnTo>
                  <a:lnTo>
                    <a:pt x="65" y="253"/>
                  </a:lnTo>
                  <a:lnTo>
                    <a:pt x="5" y="253"/>
                  </a:lnTo>
                  <a:lnTo>
                    <a:pt x="0" y="259"/>
                  </a:lnTo>
                  <a:lnTo>
                    <a:pt x="5" y="244"/>
                  </a:lnTo>
                  <a:lnTo>
                    <a:pt x="9" y="235"/>
                  </a:lnTo>
                  <a:lnTo>
                    <a:pt x="13" y="231"/>
                  </a:lnTo>
                  <a:lnTo>
                    <a:pt x="16" y="225"/>
                  </a:lnTo>
                  <a:lnTo>
                    <a:pt x="20" y="218"/>
                  </a:lnTo>
                  <a:lnTo>
                    <a:pt x="24" y="209"/>
                  </a:lnTo>
                  <a:lnTo>
                    <a:pt x="37" y="197"/>
                  </a:lnTo>
                  <a:lnTo>
                    <a:pt x="37" y="184"/>
                  </a:lnTo>
                  <a:lnTo>
                    <a:pt x="44" y="173"/>
                  </a:lnTo>
                  <a:lnTo>
                    <a:pt x="59" y="155"/>
                  </a:lnTo>
                  <a:lnTo>
                    <a:pt x="70" y="140"/>
                  </a:lnTo>
                  <a:lnTo>
                    <a:pt x="87" y="136"/>
                  </a:lnTo>
                  <a:lnTo>
                    <a:pt x="100" y="130"/>
                  </a:lnTo>
                  <a:lnTo>
                    <a:pt x="115" y="114"/>
                  </a:lnTo>
                  <a:lnTo>
                    <a:pt x="123" y="99"/>
                  </a:lnTo>
                  <a:lnTo>
                    <a:pt x="119" y="91"/>
                  </a:lnTo>
                  <a:lnTo>
                    <a:pt x="119" y="76"/>
                  </a:lnTo>
                  <a:lnTo>
                    <a:pt x="126" y="69"/>
                  </a:lnTo>
                  <a:lnTo>
                    <a:pt x="130" y="58"/>
                  </a:lnTo>
                  <a:lnTo>
                    <a:pt x="139" y="45"/>
                  </a:lnTo>
                  <a:lnTo>
                    <a:pt x="152" y="41"/>
                  </a:lnTo>
                  <a:lnTo>
                    <a:pt x="169" y="30"/>
                  </a:lnTo>
                  <a:lnTo>
                    <a:pt x="175" y="15"/>
                  </a:lnTo>
                  <a:lnTo>
                    <a:pt x="182" y="0"/>
                  </a:lnTo>
                  <a:lnTo>
                    <a:pt x="190" y="0"/>
                  </a:lnTo>
                  <a:lnTo>
                    <a:pt x="199" y="11"/>
                  </a:lnTo>
                  <a:lnTo>
                    <a:pt x="216" y="11"/>
                  </a:lnTo>
                  <a:lnTo>
                    <a:pt x="225" y="11"/>
                  </a:lnTo>
                  <a:lnTo>
                    <a:pt x="231" y="7"/>
                  </a:lnTo>
                  <a:lnTo>
                    <a:pt x="234" y="11"/>
                  </a:lnTo>
                  <a:lnTo>
                    <a:pt x="244" y="11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89" name="Freeform 183"/>
            <p:cNvSpPr>
              <a:spLocks noChangeAspect="1"/>
            </p:cNvSpPr>
            <p:nvPr/>
          </p:nvSpPr>
          <p:spPr bwMode="auto">
            <a:xfrm>
              <a:off x="2301" y="2214"/>
              <a:ext cx="222" cy="222"/>
            </a:xfrm>
            <a:custGeom>
              <a:avLst/>
              <a:gdLst>
                <a:gd name="T0" fmla="*/ 1207 w 201"/>
                <a:gd name="T1" fmla="*/ 0 h 218"/>
                <a:gd name="T2" fmla="*/ 1726 w 201"/>
                <a:gd name="T3" fmla="*/ 63 h 218"/>
                <a:gd name="T4" fmla="*/ 1493 w 201"/>
                <a:gd name="T5" fmla="*/ 63 h 218"/>
                <a:gd name="T6" fmla="*/ 1600 w 201"/>
                <a:gd name="T7" fmla="*/ 267 h 218"/>
                <a:gd name="T8" fmla="*/ 1626 w 201"/>
                <a:gd name="T9" fmla="*/ 278 h 218"/>
                <a:gd name="T10" fmla="*/ 1600 w 201"/>
                <a:gd name="T11" fmla="*/ 297 h 218"/>
                <a:gd name="T12" fmla="*/ 1085 w 201"/>
                <a:gd name="T13" fmla="*/ 297 h 218"/>
                <a:gd name="T14" fmla="*/ 1085 w 201"/>
                <a:gd name="T15" fmla="*/ 292 h 218"/>
                <a:gd name="T16" fmla="*/ 1036 w 201"/>
                <a:gd name="T17" fmla="*/ 297 h 218"/>
                <a:gd name="T18" fmla="*/ 882 w 201"/>
                <a:gd name="T19" fmla="*/ 292 h 218"/>
                <a:gd name="T20" fmla="*/ 849 w 201"/>
                <a:gd name="T21" fmla="*/ 297 h 218"/>
                <a:gd name="T22" fmla="*/ 780 w 201"/>
                <a:gd name="T23" fmla="*/ 289 h 218"/>
                <a:gd name="T24" fmla="*/ 725 w 201"/>
                <a:gd name="T25" fmla="*/ 297 h 218"/>
                <a:gd name="T26" fmla="*/ 725 w 201"/>
                <a:gd name="T27" fmla="*/ 309 h 218"/>
                <a:gd name="T28" fmla="*/ 688 w 201"/>
                <a:gd name="T29" fmla="*/ 313 h 218"/>
                <a:gd name="T30" fmla="*/ 623 w 201"/>
                <a:gd name="T31" fmla="*/ 309 h 218"/>
                <a:gd name="T32" fmla="*/ 607 w 201"/>
                <a:gd name="T33" fmla="*/ 302 h 218"/>
                <a:gd name="T34" fmla="*/ 562 w 201"/>
                <a:gd name="T35" fmla="*/ 297 h 218"/>
                <a:gd name="T36" fmla="*/ 524 w 201"/>
                <a:gd name="T37" fmla="*/ 297 h 218"/>
                <a:gd name="T38" fmla="*/ 524 w 201"/>
                <a:gd name="T39" fmla="*/ 283 h 218"/>
                <a:gd name="T40" fmla="*/ 466 w 201"/>
                <a:gd name="T41" fmla="*/ 283 h 218"/>
                <a:gd name="T42" fmla="*/ 389 w 201"/>
                <a:gd name="T43" fmla="*/ 267 h 218"/>
                <a:gd name="T44" fmla="*/ 337 w 201"/>
                <a:gd name="T45" fmla="*/ 267 h 218"/>
                <a:gd name="T46" fmla="*/ 205 w 201"/>
                <a:gd name="T47" fmla="*/ 267 h 218"/>
                <a:gd name="T48" fmla="*/ 113 w 201"/>
                <a:gd name="T49" fmla="*/ 267 h 218"/>
                <a:gd name="T50" fmla="*/ 42 w 201"/>
                <a:gd name="T51" fmla="*/ 278 h 218"/>
                <a:gd name="T52" fmla="*/ 75 w 201"/>
                <a:gd name="T53" fmla="*/ 259 h 218"/>
                <a:gd name="T54" fmla="*/ 131 w 201"/>
                <a:gd name="T55" fmla="*/ 237 h 218"/>
                <a:gd name="T56" fmla="*/ 113 w 201"/>
                <a:gd name="T57" fmla="*/ 212 h 218"/>
                <a:gd name="T58" fmla="*/ 42 w 201"/>
                <a:gd name="T59" fmla="*/ 200 h 218"/>
                <a:gd name="T60" fmla="*/ 113 w 201"/>
                <a:gd name="T61" fmla="*/ 200 h 218"/>
                <a:gd name="T62" fmla="*/ 113 w 201"/>
                <a:gd name="T63" fmla="*/ 182 h 218"/>
                <a:gd name="T64" fmla="*/ 75 w 201"/>
                <a:gd name="T65" fmla="*/ 165 h 218"/>
                <a:gd name="T66" fmla="*/ 42 w 201"/>
                <a:gd name="T67" fmla="*/ 173 h 218"/>
                <a:gd name="T68" fmla="*/ 42 w 201"/>
                <a:gd name="T69" fmla="*/ 156 h 218"/>
                <a:gd name="T70" fmla="*/ 0 w 201"/>
                <a:gd name="T71" fmla="*/ 156 h 218"/>
                <a:gd name="T72" fmla="*/ 42 w 201"/>
                <a:gd name="T73" fmla="*/ 150 h 218"/>
                <a:gd name="T74" fmla="*/ 562 w 201"/>
                <a:gd name="T75" fmla="*/ 150 h 218"/>
                <a:gd name="T76" fmla="*/ 562 w 201"/>
                <a:gd name="T77" fmla="*/ 122 h 218"/>
                <a:gd name="T78" fmla="*/ 562 w 201"/>
                <a:gd name="T79" fmla="*/ 108 h 218"/>
                <a:gd name="T80" fmla="*/ 607 w 201"/>
                <a:gd name="T81" fmla="*/ 104 h 218"/>
                <a:gd name="T82" fmla="*/ 725 w 201"/>
                <a:gd name="T83" fmla="*/ 92 h 218"/>
                <a:gd name="T84" fmla="*/ 725 w 201"/>
                <a:gd name="T85" fmla="*/ 26 h 218"/>
                <a:gd name="T86" fmla="*/ 1207 w 201"/>
                <a:gd name="T87" fmla="*/ 26 h 218"/>
                <a:gd name="T88" fmla="*/ 1207 w 201"/>
                <a:gd name="T89" fmla="*/ 0 h 2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1"/>
                <a:gd name="T136" fmla="*/ 0 h 218"/>
                <a:gd name="T137" fmla="*/ 201 w 201"/>
                <a:gd name="T138" fmla="*/ 218 h 2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1" h="218">
                  <a:moveTo>
                    <a:pt x="141" y="0"/>
                  </a:moveTo>
                  <a:lnTo>
                    <a:pt x="201" y="43"/>
                  </a:lnTo>
                  <a:lnTo>
                    <a:pt x="173" y="43"/>
                  </a:lnTo>
                  <a:lnTo>
                    <a:pt x="186" y="185"/>
                  </a:lnTo>
                  <a:lnTo>
                    <a:pt x="190" y="192"/>
                  </a:lnTo>
                  <a:lnTo>
                    <a:pt x="186" y="207"/>
                  </a:lnTo>
                  <a:lnTo>
                    <a:pt x="126" y="207"/>
                  </a:lnTo>
                  <a:lnTo>
                    <a:pt x="126" y="203"/>
                  </a:lnTo>
                  <a:lnTo>
                    <a:pt x="121" y="207"/>
                  </a:lnTo>
                  <a:lnTo>
                    <a:pt x="102" y="203"/>
                  </a:lnTo>
                  <a:lnTo>
                    <a:pt x="100" y="207"/>
                  </a:lnTo>
                  <a:lnTo>
                    <a:pt x="91" y="201"/>
                  </a:lnTo>
                  <a:lnTo>
                    <a:pt x="85" y="207"/>
                  </a:lnTo>
                  <a:lnTo>
                    <a:pt x="85" y="216"/>
                  </a:lnTo>
                  <a:lnTo>
                    <a:pt x="80" y="218"/>
                  </a:lnTo>
                  <a:lnTo>
                    <a:pt x="72" y="216"/>
                  </a:lnTo>
                  <a:lnTo>
                    <a:pt x="70" y="211"/>
                  </a:lnTo>
                  <a:lnTo>
                    <a:pt x="65" y="207"/>
                  </a:lnTo>
                  <a:lnTo>
                    <a:pt x="61" y="207"/>
                  </a:lnTo>
                  <a:lnTo>
                    <a:pt x="61" y="196"/>
                  </a:lnTo>
                  <a:lnTo>
                    <a:pt x="54" y="196"/>
                  </a:lnTo>
                  <a:lnTo>
                    <a:pt x="46" y="185"/>
                  </a:lnTo>
                  <a:lnTo>
                    <a:pt x="39" y="185"/>
                  </a:lnTo>
                  <a:lnTo>
                    <a:pt x="24" y="185"/>
                  </a:lnTo>
                  <a:lnTo>
                    <a:pt x="13" y="185"/>
                  </a:lnTo>
                  <a:lnTo>
                    <a:pt x="5" y="192"/>
                  </a:lnTo>
                  <a:lnTo>
                    <a:pt x="9" y="181"/>
                  </a:lnTo>
                  <a:lnTo>
                    <a:pt x="16" y="166"/>
                  </a:lnTo>
                  <a:lnTo>
                    <a:pt x="13" y="147"/>
                  </a:lnTo>
                  <a:lnTo>
                    <a:pt x="5" y="138"/>
                  </a:lnTo>
                  <a:lnTo>
                    <a:pt x="13" y="138"/>
                  </a:lnTo>
                  <a:lnTo>
                    <a:pt x="13" y="127"/>
                  </a:lnTo>
                  <a:lnTo>
                    <a:pt x="9" y="116"/>
                  </a:lnTo>
                  <a:lnTo>
                    <a:pt x="5" y="121"/>
                  </a:lnTo>
                  <a:lnTo>
                    <a:pt x="5" y="110"/>
                  </a:lnTo>
                  <a:lnTo>
                    <a:pt x="0" y="110"/>
                  </a:lnTo>
                  <a:lnTo>
                    <a:pt x="5" y="106"/>
                  </a:lnTo>
                  <a:lnTo>
                    <a:pt x="65" y="106"/>
                  </a:lnTo>
                  <a:lnTo>
                    <a:pt x="65" y="82"/>
                  </a:lnTo>
                  <a:lnTo>
                    <a:pt x="65" y="75"/>
                  </a:lnTo>
                  <a:lnTo>
                    <a:pt x="70" y="73"/>
                  </a:lnTo>
                  <a:lnTo>
                    <a:pt x="85" y="67"/>
                  </a:lnTo>
                  <a:lnTo>
                    <a:pt x="85" y="26"/>
                  </a:lnTo>
                  <a:lnTo>
                    <a:pt x="141" y="26"/>
                  </a:lnTo>
                  <a:lnTo>
                    <a:pt x="141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0" name="Freeform 184"/>
            <p:cNvSpPr>
              <a:spLocks noChangeAspect="1"/>
            </p:cNvSpPr>
            <p:nvPr/>
          </p:nvSpPr>
          <p:spPr bwMode="auto">
            <a:xfrm>
              <a:off x="3630" y="3029"/>
              <a:ext cx="6" cy="13"/>
            </a:xfrm>
            <a:custGeom>
              <a:avLst/>
              <a:gdLst>
                <a:gd name="T0" fmla="*/ 2 w 6"/>
                <a:gd name="T1" fmla="*/ 13 h 13"/>
                <a:gd name="T2" fmla="*/ 0 w 6"/>
                <a:gd name="T3" fmla="*/ 8 h 13"/>
                <a:gd name="T4" fmla="*/ 0 w 6"/>
                <a:gd name="T5" fmla="*/ 6 h 13"/>
                <a:gd name="T6" fmla="*/ 2 w 6"/>
                <a:gd name="T7" fmla="*/ 0 h 13"/>
                <a:gd name="T8" fmla="*/ 6 w 6"/>
                <a:gd name="T9" fmla="*/ 6 h 13"/>
                <a:gd name="T10" fmla="*/ 2 w 6"/>
                <a:gd name="T11" fmla="*/ 13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3"/>
                <a:gd name="T20" fmla="*/ 6 w 6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3">
                  <a:moveTo>
                    <a:pt x="2" y="13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lnTo>
                    <a:pt x="6" y="6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1" name="Freeform 185"/>
            <p:cNvSpPr>
              <a:spLocks noChangeAspect="1"/>
            </p:cNvSpPr>
            <p:nvPr/>
          </p:nvSpPr>
          <p:spPr bwMode="auto">
            <a:xfrm>
              <a:off x="3144" y="2864"/>
              <a:ext cx="195" cy="285"/>
            </a:xfrm>
            <a:custGeom>
              <a:avLst/>
              <a:gdLst>
                <a:gd name="T0" fmla="*/ 728 w 177"/>
                <a:gd name="T1" fmla="*/ 15 h 280"/>
                <a:gd name="T2" fmla="*/ 808 w 177"/>
                <a:gd name="T3" fmla="*/ 15 h 280"/>
                <a:gd name="T4" fmla="*/ 922 w 177"/>
                <a:gd name="T5" fmla="*/ 17 h 280"/>
                <a:gd name="T6" fmla="*/ 1004 w 177"/>
                <a:gd name="T7" fmla="*/ 17 h 280"/>
                <a:gd name="T8" fmla="*/ 1084 w 177"/>
                <a:gd name="T9" fmla="*/ 11 h 280"/>
                <a:gd name="T10" fmla="*/ 1138 w 177"/>
                <a:gd name="T11" fmla="*/ 15 h 280"/>
                <a:gd name="T12" fmla="*/ 1236 w 177"/>
                <a:gd name="T13" fmla="*/ 8 h 280"/>
                <a:gd name="T14" fmla="*/ 1382 w 177"/>
                <a:gd name="T15" fmla="*/ 0 h 280"/>
                <a:gd name="T16" fmla="*/ 1382 w 177"/>
                <a:gd name="T17" fmla="*/ 15 h 280"/>
                <a:gd name="T18" fmla="*/ 1382 w 177"/>
                <a:gd name="T19" fmla="*/ 52 h 280"/>
                <a:gd name="T20" fmla="*/ 1382 w 177"/>
                <a:gd name="T21" fmla="*/ 61 h 280"/>
                <a:gd name="T22" fmla="*/ 1420 w 177"/>
                <a:gd name="T23" fmla="*/ 85 h 280"/>
                <a:gd name="T24" fmla="*/ 1420 w 177"/>
                <a:gd name="T25" fmla="*/ 101 h 280"/>
                <a:gd name="T26" fmla="*/ 1420 w 177"/>
                <a:gd name="T27" fmla="*/ 115 h 280"/>
                <a:gd name="T28" fmla="*/ 1312 w 177"/>
                <a:gd name="T29" fmla="*/ 135 h 280"/>
                <a:gd name="T30" fmla="*/ 1254 w 177"/>
                <a:gd name="T31" fmla="*/ 141 h 280"/>
                <a:gd name="T32" fmla="*/ 1170 w 177"/>
                <a:gd name="T33" fmla="*/ 155 h 280"/>
                <a:gd name="T34" fmla="*/ 922 w 177"/>
                <a:gd name="T35" fmla="*/ 171 h 280"/>
                <a:gd name="T36" fmla="*/ 879 w 177"/>
                <a:gd name="T37" fmla="*/ 183 h 280"/>
                <a:gd name="T38" fmla="*/ 728 w 177"/>
                <a:gd name="T39" fmla="*/ 206 h 280"/>
                <a:gd name="T40" fmla="*/ 596 w 177"/>
                <a:gd name="T41" fmla="*/ 235 h 280"/>
                <a:gd name="T42" fmla="*/ 633 w 177"/>
                <a:gd name="T43" fmla="*/ 263 h 280"/>
                <a:gd name="T44" fmla="*/ 657 w 177"/>
                <a:gd name="T45" fmla="*/ 280 h 280"/>
                <a:gd name="T46" fmla="*/ 690 w 177"/>
                <a:gd name="T47" fmla="*/ 300 h 280"/>
                <a:gd name="T48" fmla="*/ 633 w 177"/>
                <a:gd name="T49" fmla="*/ 328 h 280"/>
                <a:gd name="T50" fmla="*/ 690 w 177"/>
                <a:gd name="T51" fmla="*/ 331 h 280"/>
                <a:gd name="T52" fmla="*/ 409 w 177"/>
                <a:gd name="T53" fmla="*/ 353 h 280"/>
                <a:gd name="T54" fmla="*/ 318 w 177"/>
                <a:gd name="T55" fmla="*/ 366 h 280"/>
                <a:gd name="T56" fmla="*/ 286 w 177"/>
                <a:gd name="T57" fmla="*/ 380 h 280"/>
                <a:gd name="T58" fmla="*/ 318 w 177"/>
                <a:gd name="T59" fmla="*/ 380 h 280"/>
                <a:gd name="T60" fmla="*/ 268 w 177"/>
                <a:gd name="T61" fmla="*/ 398 h 280"/>
                <a:gd name="T62" fmla="*/ 236 w 177"/>
                <a:gd name="T63" fmla="*/ 380 h 280"/>
                <a:gd name="T64" fmla="*/ 207 w 177"/>
                <a:gd name="T65" fmla="*/ 366 h 280"/>
                <a:gd name="T66" fmla="*/ 207 w 177"/>
                <a:gd name="T67" fmla="*/ 331 h 280"/>
                <a:gd name="T68" fmla="*/ 194 w 177"/>
                <a:gd name="T69" fmla="*/ 300 h 280"/>
                <a:gd name="T70" fmla="*/ 150 w 177"/>
                <a:gd name="T71" fmla="*/ 288 h 280"/>
                <a:gd name="T72" fmla="*/ 318 w 177"/>
                <a:gd name="T73" fmla="*/ 250 h 280"/>
                <a:gd name="T74" fmla="*/ 336 w 177"/>
                <a:gd name="T75" fmla="*/ 235 h 280"/>
                <a:gd name="T76" fmla="*/ 358 w 177"/>
                <a:gd name="T77" fmla="*/ 215 h 280"/>
                <a:gd name="T78" fmla="*/ 358 w 177"/>
                <a:gd name="T79" fmla="*/ 194 h 280"/>
                <a:gd name="T80" fmla="*/ 358 w 177"/>
                <a:gd name="T81" fmla="*/ 194 h 280"/>
                <a:gd name="T82" fmla="*/ 386 w 177"/>
                <a:gd name="T83" fmla="*/ 183 h 280"/>
                <a:gd name="T84" fmla="*/ 386 w 177"/>
                <a:gd name="T85" fmla="*/ 155 h 280"/>
                <a:gd name="T86" fmla="*/ 358 w 177"/>
                <a:gd name="T87" fmla="*/ 137 h 280"/>
                <a:gd name="T88" fmla="*/ 236 w 177"/>
                <a:gd name="T89" fmla="*/ 135 h 280"/>
                <a:gd name="T90" fmla="*/ 165 w 177"/>
                <a:gd name="T91" fmla="*/ 128 h 280"/>
                <a:gd name="T92" fmla="*/ 41 w 177"/>
                <a:gd name="T93" fmla="*/ 126 h 280"/>
                <a:gd name="T94" fmla="*/ 0 w 177"/>
                <a:gd name="T95" fmla="*/ 101 h 280"/>
                <a:gd name="T96" fmla="*/ 449 w 177"/>
                <a:gd name="T97" fmla="*/ 76 h 280"/>
                <a:gd name="T98" fmla="*/ 563 w 177"/>
                <a:gd name="T99" fmla="*/ 85 h 280"/>
                <a:gd name="T100" fmla="*/ 604 w 177"/>
                <a:gd name="T101" fmla="*/ 115 h 280"/>
                <a:gd name="T102" fmla="*/ 604 w 177"/>
                <a:gd name="T103" fmla="*/ 135 h 280"/>
                <a:gd name="T104" fmla="*/ 690 w 177"/>
                <a:gd name="T105" fmla="*/ 155 h 280"/>
                <a:gd name="T106" fmla="*/ 728 w 177"/>
                <a:gd name="T107" fmla="*/ 135 h 280"/>
                <a:gd name="T108" fmla="*/ 760 w 177"/>
                <a:gd name="T109" fmla="*/ 130 h 280"/>
                <a:gd name="T110" fmla="*/ 808 w 177"/>
                <a:gd name="T111" fmla="*/ 97 h 280"/>
                <a:gd name="T112" fmla="*/ 728 w 177"/>
                <a:gd name="T113" fmla="*/ 76 h 280"/>
                <a:gd name="T114" fmla="*/ 604 w 177"/>
                <a:gd name="T115" fmla="*/ 69 h 280"/>
                <a:gd name="T116" fmla="*/ 633 w 177"/>
                <a:gd name="T117" fmla="*/ 17 h 28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77"/>
                <a:gd name="T178" fmla="*/ 0 h 280"/>
                <a:gd name="T179" fmla="*/ 177 w 177"/>
                <a:gd name="T180" fmla="*/ 280 h 28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77" h="280">
                  <a:moveTo>
                    <a:pt x="78" y="17"/>
                  </a:moveTo>
                  <a:lnTo>
                    <a:pt x="89" y="15"/>
                  </a:lnTo>
                  <a:lnTo>
                    <a:pt x="93" y="17"/>
                  </a:lnTo>
                  <a:lnTo>
                    <a:pt x="100" y="15"/>
                  </a:lnTo>
                  <a:lnTo>
                    <a:pt x="106" y="17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23" y="17"/>
                  </a:lnTo>
                  <a:lnTo>
                    <a:pt x="130" y="15"/>
                  </a:lnTo>
                  <a:lnTo>
                    <a:pt x="134" y="11"/>
                  </a:lnTo>
                  <a:lnTo>
                    <a:pt x="139" y="11"/>
                  </a:lnTo>
                  <a:lnTo>
                    <a:pt x="139" y="15"/>
                  </a:lnTo>
                  <a:lnTo>
                    <a:pt x="145" y="11"/>
                  </a:lnTo>
                  <a:lnTo>
                    <a:pt x="152" y="8"/>
                  </a:lnTo>
                  <a:lnTo>
                    <a:pt x="164" y="6"/>
                  </a:lnTo>
                  <a:lnTo>
                    <a:pt x="169" y="0"/>
                  </a:lnTo>
                  <a:lnTo>
                    <a:pt x="173" y="6"/>
                  </a:lnTo>
                  <a:lnTo>
                    <a:pt x="169" y="15"/>
                  </a:lnTo>
                  <a:lnTo>
                    <a:pt x="169" y="26"/>
                  </a:lnTo>
                  <a:lnTo>
                    <a:pt x="169" y="32"/>
                  </a:lnTo>
                  <a:lnTo>
                    <a:pt x="173" y="41"/>
                  </a:lnTo>
                  <a:lnTo>
                    <a:pt x="169" y="41"/>
                  </a:lnTo>
                  <a:lnTo>
                    <a:pt x="173" y="49"/>
                  </a:lnTo>
                  <a:lnTo>
                    <a:pt x="173" y="65"/>
                  </a:lnTo>
                  <a:lnTo>
                    <a:pt x="177" y="67"/>
                  </a:lnTo>
                  <a:lnTo>
                    <a:pt x="173" y="73"/>
                  </a:lnTo>
                  <a:lnTo>
                    <a:pt x="169" y="75"/>
                  </a:lnTo>
                  <a:lnTo>
                    <a:pt x="173" y="80"/>
                  </a:lnTo>
                  <a:lnTo>
                    <a:pt x="167" y="86"/>
                  </a:lnTo>
                  <a:lnTo>
                    <a:pt x="160" y="95"/>
                  </a:lnTo>
                  <a:lnTo>
                    <a:pt x="158" y="97"/>
                  </a:lnTo>
                  <a:lnTo>
                    <a:pt x="154" y="101"/>
                  </a:lnTo>
                  <a:lnTo>
                    <a:pt x="145" y="106"/>
                  </a:lnTo>
                  <a:lnTo>
                    <a:pt x="143" y="110"/>
                  </a:lnTo>
                  <a:lnTo>
                    <a:pt x="123" y="116"/>
                  </a:lnTo>
                  <a:lnTo>
                    <a:pt x="113" y="121"/>
                  </a:lnTo>
                  <a:lnTo>
                    <a:pt x="108" y="125"/>
                  </a:lnTo>
                  <a:lnTo>
                    <a:pt x="108" y="129"/>
                  </a:lnTo>
                  <a:lnTo>
                    <a:pt x="100" y="136"/>
                  </a:lnTo>
                  <a:lnTo>
                    <a:pt x="89" y="144"/>
                  </a:lnTo>
                  <a:lnTo>
                    <a:pt x="74" y="160"/>
                  </a:lnTo>
                  <a:lnTo>
                    <a:pt x="72" y="166"/>
                  </a:lnTo>
                  <a:lnTo>
                    <a:pt x="74" y="175"/>
                  </a:lnTo>
                  <a:lnTo>
                    <a:pt x="78" y="185"/>
                  </a:lnTo>
                  <a:lnTo>
                    <a:pt x="80" y="201"/>
                  </a:lnTo>
                  <a:lnTo>
                    <a:pt x="80" y="196"/>
                  </a:lnTo>
                  <a:lnTo>
                    <a:pt x="85" y="201"/>
                  </a:lnTo>
                  <a:lnTo>
                    <a:pt x="85" y="211"/>
                  </a:lnTo>
                  <a:lnTo>
                    <a:pt x="80" y="216"/>
                  </a:lnTo>
                  <a:lnTo>
                    <a:pt x="78" y="231"/>
                  </a:lnTo>
                  <a:lnTo>
                    <a:pt x="80" y="226"/>
                  </a:lnTo>
                  <a:lnTo>
                    <a:pt x="85" y="233"/>
                  </a:lnTo>
                  <a:lnTo>
                    <a:pt x="74" y="239"/>
                  </a:lnTo>
                  <a:lnTo>
                    <a:pt x="50" y="248"/>
                  </a:lnTo>
                  <a:lnTo>
                    <a:pt x="44" y="252"/>
                  </a:lnTo>
                  <a:lnTo>
                    <a:pt x="39" y="257"/>
                  </a:lnTo>
                  <a:lnTo>
                    <a:pt x="33" y="261"/>
                  </a:lnTo>
                  <a:lnTo>
                    <a:pt x="35" y="267"/>
                  </a:lnTo>
                  <a:lnTo>
                    <a:pt x="39" y="265"/>
                  </a:lnTo>
                  <a:lnTo>
                    <a:pt x="39" y="267"/>
                  </a:lnTo>
                  <a:lnTo>
                    <a:pt x="39" y="280"/>
                  </a:lnTo>
                  <a:lnTo>
                    <a:pt x="33" y="280"/>
                  </a:lnTo>
                  <a:lnTo>
                    <a:pt x="26" y="276"/>
                  </a:lnTo>
                  <a:lnTo>
                    <a:pt x="29" y="267"/>
                  </a:lnTo>
                  <a:lnTo>
                    <a:pt x="26" y="261"/>
                  </a:lnTo>
                  <a:lnTo>
                    <a:pt x="26" y="257"/>
                  </a:lnTo>
                  <a:lnTo>
                    <a:pt x="26" y="246"/>
                  </a:lnTo>
                  <a:lnTo>
                    <a:pt x="26" y="233"/>
                  </a:lnTo>
                  <a:lnTo>
                    <a:pt x="20" y="216"/>
                  </a:lnTo>
                  <a:lnTo>
                    <a:pt x="24" y="211"/>
                  </a:lnTo>
                  <a:lnTo>
                    <a:pt x="20" y="209"/>
                  </a:lnTo>
                  <a:lnTo>
                    <a:pt x="18" y="201"/>
                  </a:lnTo>
                  <a:lnTo>
                    <a:pt x="35" y="185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41" y="166"/>
                  </a:lnTo>
                  <a:lnTo>
                    <a:pt x="48" y="155"/>
                  </a:lnTo>
                  <a:lnTo>
                    <a:pt x="44" y="151"/>
                  </a:lnTo>
                  <a:lnTo>
                    <a:pt x="44" y="144"/>
                  </a:lnTo>
                  <a:lnTo>
                    <a:pt x="44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8" y="131"/>
                  </a:lnTo>
                  <a:lnTo>
                    <a:pt x="48" y="129"/>
                  </a:lnTo>
                  <a:lnTo>
                    <a:pt x="48" y="121"/>
                  </a:lnTo>
                  <a:lnTo>
                    <a:pt x="48" y="110"/>
                  </a:lnTo>
                  <a:lnTo>
                    <a:pt x="44" y="101"/>
                  </a:lnTo>
                  <a:lnTo>
                    <a:pt x="44" y="97"/>
                  </a:lnTo>
                  <a:lnTo>
                    <a:pt x="33" y="97"/>
                  </a:lnTo>
                  <a:lnTo>
                    <a:pt x="29" y="95"/>
                  </a:lnTo>
                  <a:lnTo>
                    <a:pt x="24" y="90"/>
                  </a:lnTo>
                  <a:lnTo>
                    <a:pt x="20" y="88"/>
                  </a:lnTo>
                  <a:lnTo>
                    <a:pt x="9" y="90"/>
                  </a:lnTo>
                  <a:lnTo>
                    <a:pt x="5" y="86"/>
                  </a:lnTo>
                  <a:lnTo>
                    <a:pt x="5" y="80"/>
                  </a:lnTo>
                  <a:lnTo>
                    <a:pt x="0" y="73"/>
                  </a:lnTo>
                  <a:lnTo>
                    <a:pt x="50" y="56"/>
                  </a:lnTo>
                  <a:lnTo>
                    <a:pt x="54" y="56"/>
                  </a:lnTo>
                  <a:lnTo>
                    <a:pt x="59" y="67"/>
                  </a:lnTo>
                  <a:lnTo>
                    <a:pt x="70" y="65"/>
                  </a:lnTo>
                  <a:lnTo>
                    <a:pt x="74" y="67"/>
                  </a:lnTo>
                  <a:lnTo>
                    <a:pt x="74" y="80"/>
                  </a:lnTo>
                  <a:lnTo>
                    <a:pt x="72" y="88"/>
                  </a:lnTo>
                  <a:lnTo>
                    <a:pt x="74" y="95"/>
                  </a:lnTo>
                  <a:lnTo>
                    <a:pt x="80" y="106"/>
                  </a:lnTo>
                  <a:lnTo>
                    <a:pt x="85" y="110"/>
                  </a:lnTo>
                  <a:lnTo>
                    <a:pt x="89" y="106"/>
                  </a:lnTo>
                  <a:lnTo>
                    <a:pt x="89" y="95"/>
                  </a:lnTo>
                  <a:lnTo>
                    <a:pt x="93" y="90"/>
                  </a:lnTo>
                  <a:lnTo>
                    <a:pt x="98" y="80"/>
                  </a:lnTo>
                  <a:lnTo>
                    <a:pt x="100" y="71"/>
                  </a:lnTo>
                  <a:lnTo>
                    <a:pt x="93" y="67"/>
                  </a:lnTo>
                  <a:lnTo>
                    <a:pt x="89" y="56"/>
                  </a:lnTo>
                  <a:lnTo>
                    <a:pt x="80" y="49"/>
                  </a:lnTo>
                  <a:lnTo>
                    <a:pt x="74" y="49"/>
                  </a:lnTo>
                  <a:lnTo>
                    <a:pt x="74" y="26"/>
                  </a:lnTo>
                  <a:lnTo>
                    <a:pt x="78" y="1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2" name="Freeform 186"/>
            <p:cNvSpPr>
              <a:spLocks noChangeAspect="1"/>
            </p:cNvSpPr>
            <p:nvPr/>
          </p:nvSpPr>
          <p:spPr bwMode="auto">
            <a:xfrm>
              <a:off x="2819" y="2972"/>
              <a:ext cx="238" cy="211"/>
            </a:xfrm>
            <a:custGeom>
              <a:avLst/>
              <a:gdLst>
                <a:gd name="T0" fmla="*/ 1513 w 216"/>
                <a:gd name="T1" fmla="*/ 10 h 207"/>
                <a:gd name="T2" fmla="*/ 1626 w 216"/>
                <a:gd name="T3" fmla="*/ 6 h 207"/>
                <a:gd name="T4" fmla="*/ 1631 w 216"/>
                <a:gd name="T5" fmla="*/ 6 h 207"/>
                <a:gd name="T6" fmla="*/ 1707 w 216"/>
                <a:gd name="T7" fmla="*/ 10 h 207"/>
                <a:gd name="T8" fmla="*/ 1761 w 216"/>
                <a:gd name="T9" fmla="*/ 15 h 207"/>
                <a:gd name="T10" fmla="*/ 1707 w 216"/>
                <a:gd name="T11" fmla="*/ 15 h 207"/>
                <a:gd name="T12" fmla="*/ 1672 w 216"/>
                <a:gd name="T13" fmla="*/ 17 h 207"/>
                <a:gd name="T14" fmla="*/ 1631 w 216"/>
                <a:gd name="T15" fmla="*/ 17 h 207"/>
                <a:gd name="T16" fmla="*/ 1535 w 216"/>
                <a:gd name="T17" fmla="*/ 23 h 207"/>
                <a:gd name="T18" fmla="*/ 1495 w 216"/>
                <a:gd name="T19" fmla="*/ 17 h 207"/>
                <a:gd name="T20" fmla="*/ 1383 w 216"/>
                <a:gd name="T21" fmla="*/ 21 h 207"/>
                <a:gd name="T22" fmla="*/ 1218 w 216"/>
                <a:gd name="T23" fmla="*/ 23 h 207"/>
                <a:gd name="T24" fmla="*/ 1173 w 216"/>
                <a:gd name="T25" fmla="*/ 124 h 207"/>
                <a:gd name="T26" fmla="*/ 1061 w 216"/>
                <a:gd name="T27" fmla="*/ 124 h 207"/>
                <a:gd name="T28" fmla="*/ 1041 w 216"/>
                <a:gd name="T29" fmla="*/ 196 h 207"/>
                <a:gd name="T30" fmla="*/ 1015 w 216"/>
                <a:gd name="T31" fmla="*/ 289 h 207"/>
                <a:gd name="T32" fmla="*/ 967 w 216"/>
                <a:gd name="T33" fmla="*/ 289 h 207"/>
                <a:gd name="T34" fmla="*/ 911 w 216"/>
                <a:gd name="T35" fmla="*/ 300 h 207"/>
                <a:gd name="T36" fmla="*/ 893 w 216"/>
                <a:gd name="T37" fmla="*/ 303 h 207"/>
                <a:gd name="T38" fmla="*/ 845 w 216"/>
                <a:gd name="T39" fmla="*/ 300 h 207"/>
                <a:gd name="T40" fmla="*/ 797 w 216"/>
                <a:gd name="T41" fmla="*/ 300 h 207"/>
                <a:gd name="T42" fmla="*/ 735 w 216"/>
                <a:gd name="T43" fmla="*/ 300 h 207"/>
                <a:gd name="T44" fmla="*/ 667 w 216"/>
                <a:gd name="T45" fmla="*/ 292 h 207"/>
                <a:gd name="T46" fmla="*/ 667 w 216"/>
                <a:gd name="T47" fmla="*/ 281 h 207"/>
                <a:gd name="T48" fmla="*/ 657 w 216"/>
                <a:gd name="T49" fmla="*/ 281 h 207"/>
                <a:gd name="T50" fmla="*/ 618 w 216"/>
                <a:gd name="T51" fmla="*/ 281 h 207"/>
                <a:gd name="T52" fmla="*/ 574 w 216"/>
                <a:gd name="T53" fmla="*/ 289 h 207"/>
                <a:gd name="T54" fmla="*/ 562 w 216"/>
                <a:gd name="T55" fmla="*/ 292 h 207"/>
                <a:gd name="T56" fmla="*/ 462 w 216"/>
                <a:gd name="T57" fmla="*/ 279 h 207"/>
                <a:gd name="T58" fmla="*/ 421 w 216"/>
                <a:gd name="T59" fmla="*/ 255 h 207"/>
                <a:gd name="T60" fmla="*/ 421 w 216"/>
                <a:gd name="T61" fmla="*/ 241 h 207"/>
                <a:gd name="T62" fmla="*/ 396 w 216"/>
                <a:gd name="T63" fmla="*/ 234 h 207"/>
                <a:gd name="T64" fmla="*/ 370 w 216"/>
                <a:gd name="T65" fmla="*/ 206 h 207"/>
                <a:gd name="T66" fmla="*/ 336 w 216"/>
                <a:gd name="T67" fmla="*/ 194 h 207"/>
                <a:gd name="T68" fmla="*/ 320 w 216"/>
                <a:gd name="T69" fmla="*/ 169 h 207"/>
                <a:gd name="T70" fmla="*/ 320 w 216"/>
                <a:gd name="T71" fmla="*/ 149 h 207"/>
                <a:gd name="T72" fmla="*/ 320 w 216"/>
                <a:gd name="T73" fmla="*/ 137 h 207"/>
                <a:gd name="T74" fmla="*/ 263 w 216"/>
                <a:gd name="T75" fmla="*/ 124 h 207"/>
                <a:gd name="T76" fmla="*/ 176 w 216"/>
                <a:gd name="T77" fmla="*/ 76 h 207"/>
                <a:gd name="T78" fmla="*/ 90 w 216"/>
                <a:gd name="T79" fmla="*/ 56 h 207"/>
                <a:gd name="T80" fmla="*/ 55 w 216"/>
                <a:gd name="T81" fmla="*/ 25 h 207"/>
                <a:gd name="T82" fmla="*/ 0 w 216"/>
                <a:gd name="T83" fmla="*/ 15 h 207"/>
                <a:gd name="T84" fmla="*/ 0 w 216"/>
                <a:gd name="T85" fmla="*/ 4 h 207"/>
                <a:gd name="T86" fmla="*/ 2 w 216"/>
                <a:gd name="T87" fmla="*/ 4 h 207"/>
                <a:gd name="T88" fmla="*/ 90 w 216"/>
                <a:gd name="T89" fmla="*/ 4 h 207"/>
                <a:gd name="T90" fmla="*/ 90 w 216"/>
                <a:gd name="T91" fmla="*/ 4 h 207"/>
                <a:gd name="T92" fmla="*/ 176 w 216"/>
                <a:gd name="T93" fmla="*/ 0 h 207"/>
                <a:gd name="T94" fmla="*/ 207 w 216"/>
                <a:gd name="T95" fmla="*/ 2 h 207"/>
                <a:gd name="T96" fmla="*/ 290 w 216"/>
                <a:gd name="T97" fmla="*/ 6 h 207"/>
                <a:gd name="T98" fmla="*/ 320 w 216"/>
                <a:gd name="T99" fmla="*/ 6 h 207"/>
                <a:gd name="T100" fmla="*/ 845 w 216"/>
                <a:gd name="T101" fmla="*/ 4 h 207"/>
                <a:gd name="T102" fmla="*/ 874 w 216"/>
                <a:gd name="T103" fmla="*/ 10 h 207"/>
                <a:gd name="T104" fmla="*/ 911 w 216"/>
                <a:gd name="T105" fmla="*/ 15 h 207"/>
                <a:gd name="T106" fmla="*/ 1095 w 216"/>
                <a:gd name="T107" fmla="*/ 17 h 207"/>
                <a:gd name="T108" fmla="*/ 1173 w 216"/>
                <a:gd name="T109" fmla="*/ 17 h 207"/>
                <a:gd name="T110" fmla="*/ 1218 w 216"/>
                <a:gd name="T111" fmla="*/ 17 h 207"/>
                <a:gd name="T112" fmla="*/ 1264 w 216"/>
                <a:gd name="T113" fmla="*/ 17 h 207"/>
                <a:gd name="T114" fmla="*/ 1513 w 216"/>
                <a:gd name="T115" fmla="*/ 10 h 2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6"/>
                <a:gd name="T175" fmla="*/ 0 h 207"/>
                <a:gd name="T176" fmla="*/ 216 w 216"/>
                <a:gd name="T177" fmla="*/ 207 h 2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6" h="207">
                  <a:moveTo>
                    <a:pt x="185" y="10"/>
                  </a:moveTo>
                  <a:lnTo>
                    <a:pt x="198" y="6"/>
                  </a:lnTo>
                  <a:lnTo>
                    <a:pt x="200" y="6"/>
                  </a:lnTo>
                  <a:lnTo>
                    <a:pt x="209" y="10"/>
                  </a:lnTo>
                  <a:lnTo>
                    <a:pt x="216" y="15"/>
                  </a:lnTo>
                  <a:lnTo>
                    <a:pt x="209" y="15"/>
                  </a:lnTo>
                  <a:lnTo>
                    <a:pt x="205" y="17"/>
                  </a:lnTo>
                  <a:lnTo>
                    <a:pt x="200" y="17"/>
                  </a:lnTo>
                  <a:lnTo>
                    <a:pt x="188" y="23"/>
                  </a:lnTo>
                  <a:lnTo>
                    <a:pt x="183" y="17"/>
                  </a:lnTo>
                  <a:lnTo>
                    <a:pt x="170" y="21"/>
                  </a:lnTo>
                  <a:lnTo>
                    <a:pt x="149" y="23"/>
                  </a:lnTo>
                  <a:lnTo>
                    <a:pt x="144" y="84"/>
                  </a:lnTo>
                  <a:lnTo>
                    <a:pt x="129" y="84"/>
                  </a:lnTo>
                  <a:lnTo>
                    <a:pt x="127" y="133"/>
                  </a:lnTo>
                  <a:lnTo>
                    <a:pt x="125" y="198"/>
                  </a:lnTo>
                  <a:lnTo>
                    <a:pt x="118" y="198"/>
                  </a:lnTo>
                  <a:lnTo>
                    <a:pt x="112" y="205"/>
                  </a:lnTo>
                  <a:lnTo>
                    <a:pt x="110" y="207"/>
                  </a:lnTo>
                  <a:lnTo>
                    <a:pt x="103" y="205"/>
                  </a:lnTo>
                  <a:lnTo>
                    <a:pt x="97" y="205"/>
                  </a:lnTo>
                  <a:lnTo>
                    <a:pt x="90" y="205"/>
                  </a:lnTo>
                  <a:lnTo>
                    <a:pt x="82" y="200"/>
                  </a:lnTo>
                  <a:lnTo>
                    <a:pt x="82" y="192"/>
                  </a:lnTo>
                  <a:lnTo>
                    <a:pt x="80" y="192"/>
                  </a:lnTo>
                  <a:lnTo>
                    <a:pt x="75" y="192"/>
                  </a:lnTo>
                  <a:lnTo>
                    <a:pt x="71" y="198"/>
                  </a:lnTo>
                  <a:lnTo>
                    <a:pt x="69" y="200"/>
                  </a:lnTo>
                  <a:lnTo>
                    <a:pt x="56" y="190"/>
                  </a:lnTo>
                  <a:lnTo>
                    <a:pt x="52" y="174"/>
                  </a:lnTo>
                  <a:lnTo>
                    <a:pt x="52" y="166"/>
                  </a:lnTo>
                  <a:lnTo>
                    <a:pt x="49" y="161"/>
                  </a:lnTo>
                  <a:lnTo>
                    <a:pt x="45" y="140"/>
                  </a:lnTo>
                  <a:lnTo>
                    <a:pt x="41" y="131"/>
                  </a:lnTo>
                  <a:lnTo>
                    <a:pt x="39" y="116"/>
                  </a:lnTo>
                  <a:lnTo>
                    <a:pt x="39" y="103"/>
                  </a:lnTo>
                  <a:lnTo>
                    <a:pt x="39" y="95"/>
                  </a:lnTo>
                  <a:lnTo>
                    <a:pt x="32" y="84"/>
                  </a:lnTo>
                  <a:lnTo>
                    <a:pt x="21" y="56"/>
                  </a:lnTo>
                  <a:lnTo>
                    <a:pt x="11" y="36"/>
                  </a:lnTo>
                  <a:lnTo>
                    <a:pt x="6" y="25"/>
                  </a:lnTo>
                  <a:lnTo>
                    <a:pt x="0" y="15"/>
                  </a:lnTo>
                  <a:lnTo>
                    <a:pt x="0" y="4"/>
                  </a:lnTo>
                  <a:lnTo>
                    <a:pt x="2" y="4"/>
                  </a:lnTo>
                  <a:lnTo>
                    <a:pt x="11" y="4"/>
                  </a:lnTo>
                  <a:lnTo>
                    <a:pt x="21" y="0"/>
                  </a:lnTo>
                  <a:lnTo>
                    <a:pt x="26" y="2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103" y="4"/>
                  </a:lnTo>
                  <a:lnTo>
                    <a:pt x="106" y="10"/>
                  </a:lnTo>
                  <a:lnTo>
                    <a:pt x="112" y="15"/>
                  </a:lnTo>
                  <a:lnTo>
                    <a:pt x="134" y="17"/>
                  </a:lnTo>
                  <a:lnTo>
                    <a:pt x="144" y="17"/>
                  </a:lnTo>
                  <a:lnTo>
                    <a:pt x="149" y="17"/>
                  </a:lnTo>
                  <a:lnTo>
                    <a:pt x="155" y="17"/>
                  </a:lnTo>
                  <a:lnTo>
                    <a:pt x="185" y="1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3" name="Freeform 187"/>
            <p:cNvSpPr>
              <a:spLocks noChangeAspect="1"/>
            </p:cNvSpPr>
            <p:nvPr/>
          </p:nvSpPr>
          <p:spPr bwMode="auto">
            <a:xfrm>
              <a:off x="2612" y="2286"/>
              <a:ext cx="280" cy="205"/>
            </a:xfrm>
            <a:custGeom>
              <a:avLst/>
              <a:gdLst>
                <a:gd name="T0" fmla="*/ 1467 w 255"/>
                <a:gd name="T1" fmla="*/ 0 h 201"/>
                <a:gd name="T2" fmla="*/ 1632 w 255"/>
                <a:gd name="T3" fmla="*/ 7 h 201"/>
                <a:gd name="T4" fmla="*/ 1731 w 255"/>
                <a:gd name="T5" fmla="*/ 15 h 201"/>
                <a:gd name="T6" fmla="*/ 1823 w 255"/>
                <a:gd name="T7" fmla="*/ 9 h 201"/>
                <a:gd name="T8" fmla="*/ 1856 w 255"/>
                <a:gd name="T9" fmla="*/ 22 h 201"/>
                <a:gd name="T10" fmla="*/ 1856 w 255"/>
                <a:gd name="T11" fmla="*/ 55 h 201"/>
                <a:gd name="T12" fmla="*/ 1879 w 255"/>
                <a:gd name="T13" fmla="*/ 61 h 201"/>
                <a:gd name="T14" fmla="*/ 1879 w 255"/>
                <a:gd name="T15" fmla="*/ 65 h 201"/>
                <a:gd name="T16" fmla="*/ 1941 w 255"/>
                <a:gd name="T17" fmla="*/ 76 h 201"/>
                <a:gd name="T18" fmla="*/ 1923 w 255"/>
                <a:gd name="T19" fmla="*/ 76 h 201"/>
                <a:gd name="T20" fmla="*/ 1879 w 255"/>
                <a:gd name="T21" fmla="*/ 162 h 201"/>
                <a:gd name="T22" fmla="*/ 1700 w 255"/>
                <a:gd name="T23" fmla="*/ 208 h 201"/>
                <a:gd name="T24" fmla="*/ 1673 w 255"/>
                <a:gd name="T25" fmla="*/ 217 h 201"/>
                <a:gd name="T26" fmla="*/ 1657 w 255"/>
                <a:gd name="T27" fmla="*/ 225 h 201"/>
                <a:gd name="T28" fmla="*/ 1657 w 255"/>
                <a:gd name="T29" fmla="*/ 239 h 201"/>
                <a:gd name="T30" fmla="*/ 1632 w 255"/>
                <a:gd name="T31" fmla="*/ 249 h 201"/>
                <a:gd name="T32" fmla="*/ 1590 w 255"/>
                <a:gd name="T33" fmla="*/ 258 h 201"/>
                <a:gd name="T34" fmla="*/ 1543 w 255"/>
                <a:gd name="T35" fmla="*/ 260 h 201"/>
                <a:gd name="T36" fmla="*/ 1331 w 255"/>
                <a:gd name="T37" fmla="*/ 249 h 201"/>
                <a:gd name="T38" fmla="*/ 1275 w 255"/>
                <a:gd name="T39" fmla="*/ 258 h 201"/>
                <a:gd name="T40" fmla="*/ 1254 w 255"/>
                <a:gd name="T41" fmla="*/ 260 h 201"/>
                <a:gd name="T42" fmla="*/ 1201 w 255"/>
                <a:gd name="T43" fmla="*/ 264 h 201"/>
                <a:gd name="T44" fmla="*/ 1136 w 255"/>
                <a:gd name="T45" fmla="*/ 269 h 201"/>
                <a:gd name="T46" fmla="*/ 995 w 255"/>
                <a:gd name="T47" fmla="*/ 258 h 201"/>
                <a:gd name="T48" fmla="*/ 836 w 255"/>
                <a:gd name="T49" fmla="*/ 260 h 201"/>
                <a:gd name="T50" fmla="*/ 787 w 255"/>
                <a:gd name="T51" fmla="*/ 249 h 201"/>
                <a:gd name="T52" fmla="*/ 717 w 255"/>
                <a:gd name="T53" fmla="*/ 245 h 201"/>
                <a:gd name="T54" fmla="*/ 653 w 255"/>
                <a:gd name="T55" fmla="*/ 239 h 201"/>
                <a:gd name="T56" fmla="*/ 653 w 255"/>
                <a:gd name="T57" fmla="*/ 245 h 201"/>
                <a:gd name="T58" fmla="*/ 552 w 255"/>
                <a:gd name="T59" fmla="*/ 245 h 201"/>
                <a:gd name="T60" fmla="*/ 531 w 255"/>
                <a:gd name="T61" fmla="*/ 249 h 201"/>
                <a:gd name="T62" fmla="*/ 492 w 255"/>
                <a:gd name="T63" fmla="*/ 264 h 201"/>
                <a:gd name="T64" fmla="*/ 427 w 255"/>
                <a:gd name="T65" fmla="*/ 275 h 201"/>
                <a:gd name="T66" fmla="*/ 427 w 255"/>
                <a:gd name="T67" fmla="*/ 297 h 201"/>
                <a:gd name="T68" fmla="*/ 378 w 255"/>
                <a:gd name="T69" fmla="*/ 286 h 201"/>
                <a:gd name="T70" fmla="*/ 333 w 255"/>
                <a:gd name="T71" fmla="*/ 278 h 201"/>
                <a:gd name="T72" fmla="*/ 287 w 255"/>
                <a:gd name="T73" fmla="*/ 278 h 201"/>
                <a:gd name="T74" fmla="*/ 281 w 255"/>
                <a:gd name="T75" fmla="*/ 286 h 201"/>
                <a:gd name="T76" fmla="*/ 229 w 255"/>
                <a:gd name="T77" fmla="*/ 278 h 201"/>
                <a:gd name="T78" fmla="*/ 261 w 255"/>
                <a:gd name="T79" fmla="*/ 275 h 201"/>
                <a:gd name="T80" fmla="*/ 229 w 255"/>
                <a:gd name="T81" fmla="*/ 269 h 201"/>
                <a:gd name="T82" fmla="*/ 197 w 255"/>
                <a:gd name="T83" fmla="*/ 269 h 201"/>
                <a:gd name="T84" fmla="*/ 98 w 255"/>
                <a:gd name="T85" fmla="*/ 260 h 201"/>
                <a:gd name="T86" fmla="*/ 98 w 255"/>
                <a:gd name="T87" fmla="*/ 258 h 201"/>
                <a:gd name="T88" fmla="*/ 148 w 255"/>
                <a:gd name="T89" fmla="*/ 258 h 201"/>
                <a:gd name="T90" fmla="*/ 148 w 255"/>
                <a:gd name="T91" fmla="*/ 249 h 201"/>
                <a:gd name="T92" fmla="*/ 98 w 255"/>
                <a:gd name="T93" fmla="*/ 249 h 201"/>
                <a:gd name="T94" fmla="*/ 42 w 255"/>
                <a:gd name="T95" fmla="*/ 239 h 201"/>
                <a:gd name="T96" fmla="*/ 4 w 255"/>
                <a:gd name="T97" fmla="*/ 233 h 201"/>
                <a:gd name="T98" fmla="*/ 0 w 255"/>
                <a:gd name="T99" fmla="*/ 222 h 201"/>
                <a:gd name="T100" fmla="*/ 0 w 255"/>
                <a:gd name="T101" fmla="*/ 214 h 201"/>
                <a:gd name="T102" fmla="*/ 112 w 255"/>
                <a:gd name="T103" fmla="*/ 208 h 201"/>
                <a:gd name="T104" fmla="*/ 148 w 255"/>
                <a:gd name="T105" fmla="*/ 202 h 201"/>
                <a:gd name="T106" fmla="*/ 378 w 255"/>
                <a:gd name="T107" fmla="*/ 202 h 201"/>
                <a:gd name="T108" fmla="*/ 427 w 255"/>
                <a:gd name="T109" fmla="*/ 202 h 201"/>
                <a:gd name="T110" fmla="*/ 456 w 255"/>
                <a:gd name="T111" fmla="*/ 186 h 201"/>
                <a:gd name="T112" fmla="*/ 492 w 255"/>
                <a:gd name="T113" fmla="*/ 162 h 201"/>
                <a:gd name="T114" fmla="*/ 531 w 255"/>
                <a:gd name="T115" fmla="*/ 156 h 201"/>
                <a:gd name="T116" fmla="*/ 531 w 255"/>
                <a:gd name="T117" fmla="*/ 110 h 201"/>
                <a:gd name="T118" fmla="*/ 717 w 255"/>
                <a:gd name="T119" fmla="*/ 94 h 201"/>
                <a:gd name="T120" fmla="*/ 908 w 255"/>
                <a:gd name="T121" fmla="*/ 61 h 201"/>
                <a:gd name="T122" fmla="*/ 1369 w 255"/>
                <a:gd name="T123" fmla="*/ 9 h 201"/>
                <a:gd name="T124" fmla="*/ 1467 w 255"/>
                <a:gd name="T125" fmla="*/ 0 h 2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55"/>
                <a:gd name="T190" fmla="*/ 0 h 201"/>
                <a:gd name="T191" fmla="*/ 255 w 255"/>
                <a:gd name="T192" fmla="*/ 201 h 20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55" h="201">
                  <a:moveTo>
                    <a:pt x="194" y="0"/>
                  </a:moveTo>
                  <a:lnTo>
                    <a:pt x="214" y="7"/>
                  </a:lnTo>
                  <a:lnTo>
                    <a:pt x="227" y="15"/>
                  </a:lnTo>
                  <a:lnTo>
                    <a:pt x="240" y="9"/>
                  </a:lnTo>
                  <a:lnTo>
                    <a:pt x="244" y="22"/>
                  </a:lnTo>
                  <a:lnTo>
                    <a:pt x="244" y="35"/>
                  </a:lnTo>
                  <a:lnTo>
                    <a:pt x="248" y="41"/>
                  </a:lnTo>
                  <a:lnTo>
                    <a:pt x="248" y="45"/>
                  </a:lnTo>
                  <a:lnTo>
                    <a:pt x="255" y="56"/>
                  </a:lnTo>
                  <a:lnTo>
                    <a:pt x="253" y="56"/>
                  </a:lnTo>
                  <a:lnTo>
                    <a:pt x="248" y="110"/>
                  </a:lnTo>
                  <a:lnTo>
                    <a:pt x="224" y="140"/>
                  </a:lnTo>
                  <a:lnTo>
                    <a:pt x="220" y="147"/>
                  </a:lnTo>
                  <a:lnTo>
                    <a:pt x="218" y="153"/>
                  </a:lnTo>
                  <a:lnTo>
                    <a:pt x="218" y="162"/>
                  </a:lnTo>
                  <a:lnTo>
                    <a:pt x="214" y="168"/>
                  </a:lnTo>
                  <a:lnTo>
                    <a:pt x="209" y="173"/>
                  </a:lnTo>
                  <a:lnTo>
                    <a:pt x="203" y="175"/>
                  </a:lnTo>
                  <a:lnTo>
                    <a:pt x="175" y="168"/>
                  </a:lnTo>
                  <a:lnTo>
                    <a:pt x="168" y="173"/>
                  </a:lnTo>
                  <a:lnTo>
                    <a:pt x="164" y="175"/>
                  </a:lnTo>
                  <a:lnTo>
                    <a:pt x="158" y="177"/>
                  </a:lnTo>
                  <a:lnTo>
                    <a:pt x="149" y="181"/>
                  </a:lnTo>
                  <a:lnTo>
                    <a:pt x="130" y="173"/>
                  </a:lnTo>
                  <a:lnTo>
                    <a:pt x="110" y="175"/>
                  </a:lnTo>
                  <a:lnTo>
                    <a:pt x="104" y="168"/>
                  </a:lnTo>
                  <a:lnTo>
                    <a:pt x="95" y="166"/>
                  </a:lnTo>
                  <a:lnTo>
                    <a:pt x="86" y="162"/>
                  </a:lnTo>
                  <a:lnTo>
                    <a:pt x="86" y="166"/>
                  </a:lnTo>
                  <a:lnTo>
                    <a:pt x="73" y="166"/>
                  </a:lnTo>
                  <a:lnTo>
                    <a:pt x="69" y="168"/>
                  </a:lnTo>
                  <a:lnTo>
                    <a:pt x="65" y="177"/>
                  </a:lnTo>
                  <a:lnTo>
                    <a:pt x="56" y="186"/>
                  </a:lnTo>
                  <a:lnTo>
                    <a:pt x="56" y="201"/>
                  </a:lnTo>
                  <a:lnTo>
                    <a:pt x="50" y="194"/>
                  </a:lnTo>
                  <a:lnTo>
                    <a:pt x="43" y="188"/>
                  </a:lnTo>
                  <a:lnTo>
                    <a:pt x="39" y="188"/>
                  </a:lnTo>
                  <a:lnTo>
                    <a:pt x="37" y="194"/>
                  </a:lnTo>
                  <a:lnTo>
                    <a:pt x="30" y="188"/>
                  </a:lnTo>
                  <a:lnTo>
                    <a:pt x="35" y="186"/>
                  </a:lnTo>
                  <a:lnTo>
                    <a:pt x="30" y="181"/>
                  </a:lnTo>
                  <a:lnTo>
                    <a:pt x="26" y="181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9" y="173"/>
                  </a:lnTo>
                  <a:lnTo>
                    <a:pt x="19" y="168"/>
                  </a:lnTo>
                  <a:lnTo>
                    <a:pt x="13" y="168"/>
                  </a:lnTo>
                  <a:lnTo>
                    <a:pt x="6" y="162"/>
                  </a:lnTo>
                  <a:lnTo>
                    <a:pt x="4" y="158"/>
                  </a:lnTo>
                  <a:lnTo>
                    <a:pt x="0" y="151"/>
                  </a:lnTo>
                  <a:lnTo>
                    <a:pt x="0" y="145"/>
                  </a:lnTo>
                  <a:lnTo>
                    <a:pt x="15" y="140"/>
                  </a:lnTo>
                  <a:lnTo>
                    <a:pt x="19" y="136"/>
                  </a:lnTo>
                  <a:lnTo>
                    <a:pt x="50" y="136"/>
                  </a:lnTo>
                  <a:lnTo>
                    <a:pt x="56" y="136"/>
                  </a:lnTo>
                  <a:lnTo>
                    <a:pt x="60" y="125"/>
                  </a:lnTo>
                  <a:lnTo>
                    <a:pt x="65" y="110"/>
                  </a:lnTo>
                  <a:lnTo>
                    <a:pt x="69" y="106"/>
                  </a:lnTo>
                  <a:lnTo>
                    <a:pt x="69" y="73"/>
                  </a:lnTo>
                  <a:lnTo>
                    <a:pt x="95" y="65"/>
                  </a:lnTo>
                  <a:lnTo>
                    <a:pt x="119" y="41"/>
                  </a:lnTo>
                  <a:lnTo>
                    <a:pt x="179" y="9"/>
                  </a:lnTo>
                  <a:lnTo>
                    <a:pt x="194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4" name="Freeform 188"/>
            <p:cNvSpPr>
              <a:spLocks noChangeAspect="1"/>
            </p:cNvSpPr>
            <p:nvPr/>
          </p:nvSpPr>
          <p:spPr bwMode="auto">
            <a:xfrm>
              <a:off x="2658" y="2451"/>
              <a:ext cx="215" cy="163"/>
            </a:xfrm>
            <a:custGeom>
              <a:avLst/>
              <a:gdLst>
                <a:gd name="T0" fmla="*/ 1677 w 194"/>
                <a:gd name="T1" fmla="*/ 9 h 160"/>
                <a:gd name="T2" fmla="*/ 1710 w 194"/>
                <a:gd name="T3" fmla="*/ 24 h 160"/>
                <a:gd name="T4" fmla="*/ 1784 w 194"/>
                <a:gd name="T5" fmla="*/ 59 h 160"/>
                <a:gd name="T6" fmla="*/ 1677 w 194"/>
                <a:gd name="T7" fmla="*/ 63 h 160"/>
                <a:gd name="T8" fmla="*/ 1610 w 194"/>
                <a:gd name="T9" fmla="*/ 78 h 160"/>
                <a:gd name="T10" fmla="*/ 1579 w 194"/>
                <a:gd name="T11" fmla="*/ 102 h 160"/>
                <a:gd name="T12" fmla="*/ 1493 w 194"/>
                <a:gd name="T13" fmla="*/ 124 h 160"/>
                <a:gd name="T14" fmla="*/ 1365 w 194"/>
                <a:gd name="T15" fmla="*/ 155 h 160"/>
                <a:gd name="T16" fmla="*/ 1365 w 194"/>
                <a:gd name="T17" fmla="*/ 164 h 160"/>
                <a:gd name="T18" fmla="*/ 1256 w 194"/>
                <a:gd name="T19" fmla="*/ 171 h 160"/>
                <a:gd name="T20" fmla="*/ 1198 w 194"/>
                <a:gd name="T21" fmla="*/ 161 h 160"/>
                <a:gd name="T22" fmla="*/ 1096 w 194"/>
                <a:gd name="T23" fmla="*/ 164 h 160"/>
                <a:gd name="T24" fmla="*/ 946 w 194"/>
                <a:gd name="T25" fmla="*/ 188 h 160"/>
                <a:gd name="T26" fmla="*/ 850 w 194"/>
                <a:gd name="T27" fmla="*/ 221 h 160"/>
                <a:gd name="T28" fmla="*/ 850 w 194"/>
                <a:gd name="T29" fmla="*/ 221 h 160"/>
                <a:gd name="T30" fmla="*/ 628 w 194"/>
                <a:gd name="T31" fmla="*/ 221 h 160"/>
                <a:gd name="T32" fmla="*/ 515 w 194"/>
                <a:gd name="T33" fmla="*/ 231 h 160"/>
                <a:gd name="T34" fmla="*/ 379 w 194"/>
                <a:gd name="T35" fmla="*/ 211 h 160"/>
                <a:gd name="T36" fmla="*/ 399 w 194"/>
                <a:gd name="T37" fmla="*/ 201 h 160"/>
                <a:gd name="T38" fmla="*/ 318 w 194"/>
                <a:gd name="T39" fmla="*/ 188 h 160"/>
                <a:gd name="T40" fmla="*/ 2 w 194"/>
                <a:gd name="T41" fmla="*/ 177 h 160"/>
                <a:gd name="T42" fmla="*/ 0 w 194"/>
                <a:gd name="T43" fmla="*/ 128 h 160"/>
                <a:gd name="T44" fmla="*/ 68 w 194"/>
                <a:gd name="T45" fmla="*/ 116 h 160"/>
                <a:gd name="T46" fmla="*/ 102 w 194"/>
                <a:gd name="T47" fmla="*/ 90 h 160"/>
                <a:gd name="T48" fmla="*/ 134 w 194"/>
                <a:gd name="T49" fmla="*/ 74 h 160"/>
                <a:gd name="T50" fmla="*/ 102 w 194"/>
                <a:gd name="T51" fmla="*/ 59 h 160"/>
                <a:gd name="T52" fmla="*/ 204 w 194"/>
                <a:gd name="T53" fmla="*/ 15 h 160"/>
                <a:gd name="T54" fmla="*/ 279 w 194"/>
                <a:gd name="T55" fmla="*/ 4 h 160"/>
                <a:gd name="T56" fmla="*/ 399 w 194"/>
                <a:gd name="T57" fmla="*/ 0 h 160"/>
                <a:gd name="T58" fmla="*/ 569 w 194"/>
                <a:gd name="T59" fmla="*/ 6 h 160"/>
                <a:gd name="T60" fmla="*/ 805 w 194"/>
                <a:gd name="T61" fmla="*/ 9 h 160"/>
                <a:gd name="T62" fmla="*/ 1058 w 194"/>
                <a:gd name="T63" fmla="*/ 15 h 160"/>
                <a:gd name="T64" fmla="*/ 1160 w 194"/>
                <a:gd name="T65" fmla="*/ 9 h 160"/>
                <a:gd name="T66" fmla="*/ 1476 w 194"/>
                <a:gd name="T67" fmla="*/ 13 h 160"/>
                <a:gd name="T68" fmla="*/ 1579 w 194"/>
                <a:gd name="T69" fmla="*/ 6 h 16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4"/>
                <a:gd name="T106" fmla="*/ 0 h 160"/>
                <a:gd name="T107" fmla="*/ 194 w 194"/>
                <a:gd name="T108" fmla="*/ 160 h 16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4" h="160">
                  <a:moveTo>
                    <a:pt x="175" y="0"/>
                  </a:moveTo>
                  <a:lnTo>
                    <a:pt x="181" y="9"/>
                  </a:lnTo>
                  <a:lnTo>
                    <a:pt x="184" y="13"/>
                  </a:lnTo>
                  <a:lnTo>
                    <a:pt x="184" y="24"/>
                  </a:lnTo>
                  <a:lnTo>
                    <a:pt x="190" y="28"/>
                  </a:lnTo>
                  <a:lnTo>
                    <a:pt x="194" y="39"/>
                  </a:lnTo>
                  <a:lnTo>
                    <a:pt x="186" y="47"/>
                  </a:lnTo>
                  <a:lnTo>
                    <a:pt x="181" y="43"/>
                  </a:lnTo>
                  <a:lnTo>
                    <a:pt x="175" y="54"/>
                  </a:lnTo>
                  <a:lnTo>
                    <a:pt x="175" y="58"/>
                  </a:lnTo>
                  <a:lnTo>
                    <a:pt x="169" y="65"/>
                  </a:lnTo>
                  <a:lnTo>
                    <a:pt x="171" y="71"/>
                  </a:lnTo>
                  <a:lnTo>
                    <a:pt x="162" y="73"/>
                  </a:lnTo>
                  <a:lnTo>
                    <a:pt x="162" y="84"/>
                  </a:lnTo>
                  <a:lnTo>
                    <a:pt x="156" y="88"/>
                  </a:lnTo>
                  <a:lnTo>
                    <a:pt x="147" y="108"/>
                  </a:lnTo>
                  <a:lnTo>
                    <a:pt x="151" y="114"/>
                  </a:lnTo>
                  <a:lnTo>
                    <a:pt x="147" y="114"/>
                  </a:lnTo>
                  <a:lnTo>
                    <a:pt x="140" y="119"/>
                  </a:lnTo>
                  <a:lnTo>
                    <a:pt x="136" y="119"/>
                  </a:lnTo>
                  <a:lnTo>
                    <a:pt x="136" y="117"/>
                  </a:lnTo>
                  <a:lnTo>
                    <a:pt x="130" y="112"/>
                  </a:lnTo>
                  <a:lnTo>
                    <a:pt x="125" y="114"/>
                  </a:lnTo>
                  <a:lnTo>
                    <a:pt x="119" y="114"/>
                  </a:lnTo>
                  <a:lnTo>
                    <a:pt x="110" y="119"/>
                  </a:lnTo>
                  <a:lnTo>
                    <a:pt x="102" y="130"/>
                  </a:lnTo>
                  <a:lnTo>
                    <a:pt x="97" y="142"/>
                  </a:lnTo>
                  <a:lnTo>
                    <a:pt x="91" y="153"/>
                  </a:lnTo>
                  <a:lnTo>
                    <a:pt x="91" y="151"/>
                  </a:lnTo>
                  <a:lnTo>
                    <a:pt x="91" y="153"/>
                  </a:lnTo>
                  <a:lnTo>
                    <a:pt x="76" y="158"/>
                  </a:lnTo>
                  <a:lnTo>
                    <a:pt x="67" y="153"/>
                  </a:lnTo>
                  <a:lnTo>
                    <a:pt x="67" y="158"/>
                  </a:lnTo>
                  <a:lnTo>
                    <a:pt x="56" y="160"/>
                  </a:lnTo>
                  <a:lnTo>
                    <a:pt x="50" y="158"/>
                  </a:lnTo>
                  <a:lnTo>
                    <a:pt x="41" y="145"/>
                  </a:lnTo>
                  <a:lnTo>
                    <a:pt x="43" y="142"/>
                  </a:lnTo>
                  <a:lnTo>
                    <a:pt x="43" y="138"/>
                  </a:lnTo>
                  <a:lnTo>
                    <a:pt x="37" y="138"/>
                  </a:lnTo>
                  <a:lnTo>
                    <a:pt x="35" y="130"/>
                  </a:lnTo>
                  <a:lnTo>
                    <a:pt x="22" y="123"/>
                  </a:lnTo>
                  <a:lnTo>
                    <a:pt x="2" y="123"/>
                  </a:lnTo>
                  <a:lnTo>
                    <a:pt x="0" y="108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7" y="78"/>
                  </a:lnTo>
                  <a:lnTo>
                    <a:pt x="11" y="69"/>
                  </a:lnTo>
                  <a:lnTo>
                    <a:pt x="11" y="65"/>
                  </a:lnTo>
                  <a:lnTo>
                    <a:pt x="11" y="58"/>
                  </a:lnTo>
                  <a:lnTo>
                    <a:pt x="15" y="54"/>
                  </a:lnTo>
                  <a:lnTo>
                    <a:pt x="11" y="39"/>
                  </a:lnTo>
                  <a:lnTo>
                    <a:pt x="11" y="24"/>
                  </a:lnTo>
                  <a:lnTo>
                    <a:pt x="22" y="15"/>
                  </a:lnTo>
                  <a:lnTo>
                    <a:pt x="26" y="6"/>
                  </a:lnTo>
                  <a:lnTo>
                    <a:pt x="30" y="4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52" y="4"/>
                  </a:lnTo>
                  <a:lnTo>
                    <a:pt x="61" y="6"/>
                  </a:lnTo>
                  <a:lnTo>
                    <a:pt x="67" y="13"/>
                  </a:lnTo>
                  <a:lnTo>
                    <a:pt x="87" y="9"/>
                  </a:lnTo>
                  <a:lnTo>
                    <a:pt x="104" y="19"/>
                  </a:lnTo>
                  <a:lnTo>
                    <a:pt x="115" y="15"/>
                  </a:lnTo>
                  <a:lnTo>
                    <a:pt x="119" y="13"/>
                  </a:lnTo>
                  <a:lnTo>
                    <a:pt x="125" y="9"/>
                  </a:lnTo>
                  <a:lnTo>
                    <a:pt x="132" y="6"/>
                  </a:lnTo>
                  <a:lnTo>
                    <a:pt x="160" y="13"/>
                  </a:lnTo>
                  <a:lnTo>
                    <a:pt x="166" y="9"/>
                  </a:lnTo>
                  <a:lnTo>
                    <a:pt x="171" y="6"/>
                  </a:lnTo>
                  <a:lnTo>
                    <a:pt x="175" y="0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5" name="Freeform 189"/>
            <p:cNvSpPr>
              <a:spLocks noChangeAspect="1"/>
            </p:cNvSpPr>
            <p:nvPr/>
          </p:nvSpPr>
          <p:spPr bwMode="auto">
            <a:xfrm>
              <a:off x="3127" y="2703"/>
              <a:ext cx="37" cy="31"/>
            </a:xfrm>
            <a:custGeom>
              <a:avLst/>
              <a:gdLst>
                <a:gd name="T0" fmla="*/ 151 w 33"/>
                <a:gd name="T1" fmla="*/ 5 h 30"/>
                <a:gd name="T2" fmla="*/ 238 w 33"/>
                <a:gd name="T3" fmla="*/ 5 h 30"/>
                <a:gd name="T4" fmla="*/ 238 w 33"/>
                <a:gd name="T5" fmla="*/ 7 h 30"/>
                <a:gd name="T6" fmla="*/ 335 w 33"/>
                <a:gd name="T7" fmla="*/ 0 h 30"/>
                <a:gd name="T8" fmla="*/ 388 w 33"/>
                <a:gd name="T9" fmla="*/ 11 h 30"/>
                <a:gd name="T10" fmla="*/ 388 w 33"/>
                <a:gd name="T11" fmla="*/ 40 h 30"/>
                <a:gd name="T12" fmla="*/ 388 w 33"/>
                <a:gd name="T13" fmla="*/ 44 h 30"/>
                <a:gd name="T14" fmla="*/ 335 w 33"/>
                <a:gd name="T15" fmla="*/ 47 h 30"/>
                <a:gd name="T16" fmla="*/ 276 w 33"/>
                <a:gd name="T17" fmla="*/ 40 h 30"/>
                <a:gd name="T18" fmla="*/ 238 w 33"/>
                <a:gd name="T19" fmla="*/ 44 h 30"/>
                <a:gd name="T20" fmla="*/ 169 w 33"/>
                <a:gd name="T21" fmla="*/ 47 h 30"/>
                <a:gd name="T22" fmla="*/ 107 w 33"/>
                <a:gd name="T23" fmla="*/ 55 h 30"/>
                <a:gd name="T24" fmla="*/ 107 w 33"/>
                <a:gd name="T25" fmla="*/ 44 h 30"/>
                <a:gd name="T26" fmla="*/ 0 w 33"/>
                <a:gd name="T27" fmla="*/ 47 h 30"/>
                <a:gd name="T28" fmla="*/ 0 w 33"/>
                <a:gd name="T29" fmla="*/ 44 h 30"/>
                <a:gd name="T30" fmla="*/ 54 w 33"/>
                <a:gd name="T31" fmla="*/ 40 h 30"/>
                <a:gd name="T32" fmla="*/ 107 w 33"/>
                <a:gd name="T33" fmla="*/ 11 h 30"/>
                <a:gd name="T34" fmla="*/ 151 w 33"/>
                <a:gd name="T35" fmla="*/ 7 h 30"/>
                <a:gd name="T36" fmla="*/ 151 w 33"/>
                <a:gd name="T37" fmla="*/ 5 h 3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3"/>
                <a:gd name="T58" fmla="*/ 0 h 30"/>
                <a:gd name="T59" fmla="*/ 33 w 33"/>
                <a:gd name="T60" fmla="*/ 30 h 3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3" h="30">
                  <a:moveTo>
                    <a:pt x="13" y="5"/>
                  </a:moveTo>
                  <a:lnTo>
                    <a:pt x="20" y="5"/>
                  </a:lnTo>
                  <a:lnTo>
                    <a:pt x="20" y="7"/>
                  </a:lnTo>
                  <a:lnTo>
                    <a:pt x="28" y="0"/>
                  </a:lnTo>
                  <a:lnTo>
                    <a:pt x="33" y="11"/>
                  </a:lnTo>
                  <a:lnTo>
                    <a:pt x="33" y="20"/>
                  </a:lnTo>
                  <a:lnTo>
                    <a:pt x="33" y="24"/>
                  </a:lnTo>
                  <a:lnTo>
                    <a:pt x="28" y="26"/>
                  </a:lnTo>
                  <a:lnTo>
                    <a:pt x="24" y="20"/>
                  </a:lnTo>
                  <a:lnTo>
                    <a:pt x="20" y="24"/>
                  </a:lnTo>
                  <a:lnTo>
                    <a:pt x="15" y="26"/>
                  </a:lnTo>
                  <a:lnTo>
                    <a:pt x="9" y="30"/>
                  </a:lnTo>
                  <a:lnTo>
                    <a:pt x="9" y="24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5" y="20"/>
                  </a:lnTo>
                  <a:lnTo>
                    <a:pt x="9" y="11"/>
                  </a:lnTo>
                  <a:lnTo>
                    <a:pt x="13" y="7"/>
                  </a:lnTo>
                  <a:lnTo>
                    <a:pt x="13" y="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6" name="Freeform 190"/>
            <p:cNvSpPr>
              <a:spLocks noChangeAspect="1"/>
            </p:cNvSpPr>
            <p:nvPr/>
          </p:nvSpPr>
          <p:spPr bwMode="auto">
            <a:xfrm>
              <a:off x="2999" y="2824"/>
              <a:ext cx="214" cy="169"/>
            </a:xfrm>
            <a:custGeom>
              <a:avLst/>
              <a:gdLst>
                <a:gd name="T0" fmla="*/ 1292 w 194"/>
                <a:gd name="T1" fmla="*/ 9 h 166"/>
                <a:gd name="T2" fmla="*/ 1368 w 194"/>
                <a:gd name="T3" fmla="*/ 11 h 166"/>
                <a:gd name="T4" fmla="*/ 1453 w 194"/>
                <a:gd name="T5" fmla="*/ 15 h 166"/>
                <a:gd name="T6" fmla="*/ 1507 w 194"/>
                <a:gd name="T7" fmla="*/ 17 h 166"/>
                <a:gd name="T8" fmla="*/ 1588 w 194"/>
                <a:gd name="T9" fmla="*/ 50 h 166"/>
                <a:gd name="T10" fmla="*/ 1611 w 194"/>
                <a:gd name="T11" fmla="*/ 59 h 166"/>
                <a:gd name="T12" fmla="*/ 1574 w 194"/>
                <a:gd name="T13" fmla="*/ 70 h 166"/>
                <a:gd name="T14" fmla="*/ 1523 w 194"/>
                <a:gd name="T15" fmla="*/ 87 h 166"/>
                <a:gd name="T16" fmla="*/ 1574 w 194"/>
                <a:gd name="T17" fmla="*/ 99 h 166"/>
                <a:gd name="T18" fmla="*/ 1507 w 194"/>
                <a:gd name="T19" fmla="*/ 121 h 166"/>
                <a:gd name="T20" fmla="*/ 1507 w 194"/>
                <a:gd name="T21" fmla="*/ 137 h 166"/>
                <a:gd name="T22" fmla="*/ 1116 w 194"/>
                <a:gd name="T23" fmla="*/ 169 h 166"/>
                <a:gd name="T24" fmla="*/ 1104 w 194"/>
                <a:gd name="T25" fmla="*/ 178 h 166"/>
                <a:gd name="T26" fmla="*/ 917 w 194"/>
                <a:gd name="T27" fmla="*/ 184 h 166"/>
                <a:gd name="T28" fmla="*/ 836 w 194"/>
                <a:gd name="T29" fmla="*/ 202 h 166"/>
                <a:gd name="T30" fmla="*/ 700 w 194"/>
                <a:gd name="T31" fmla="*/ 231 h 166"/>
                <a:gd name="T32" fmla="*/ 617 w 194"/>
                <a:gd name="T33" fmla="*/ 231 h 166"/>
                <a:gd name="T34" fmla="*/ 429 w 194"/>
                <a:gd name="T35" fmla="*/ 228 h 166"/>
                <a:gd name="T36" fmla="*/ 297 w 194"/>
                <a:gd name="T37" fmla="*/ 219 h 166"/>
                <a:gd name="T38" fmla="*/ 181 w 194"/>
                <a:gd name="T39" fmla="*/ 222 h 166"/>
                <a:gd name="T40" fmla="*/ 0 w 194"/>
                <a:gd name="T41" fmla="*/ 188 h 166"/>
                <a:gd name="T42" fmla="*/ 287 w 194"/>
                <a:gd name="T43" fmla="*/ 117 h 166"/>
                <a:gd name="T44" fmla="*/ 287 w 194"/>
                <a:gd name="T45" fmla="*/ 99 h 166"/>
                <a:gd name="T46" fmla="*/ 287 w 194"/>
                <a:gd name="T47" fmla="*/ 61 h 166"/>
                <a:gd name="T48" fmla="*/ 362 w 194"/>
                <a:gd name="T49" fmla="*/ 74 h 166"/>
                <a:gd name="T50" fmla="*/ 485 w 194"/>
                <a:gd name="T51" fmla="*/ 74 h 166"/>
                <a:gd name="T52" fmla="*/ 623 w 194"/>
                <a:gd name="T53" fmla="*/ 80 h 166"/>
                <a:gd name="T54" fmla="*/ 700 w 194"/>
                <a:gd name="T55" fmla="*/ 74 h 166"/>
                <a:gd name="T56" fmla="*/ 792 w 194"/>
                <a:gd name="T57" fmla="*/ 91 h 166"/>
                <a:gd name="T58" fmla="*/ 942 w 194"/>
                <a:gd name="T59" fmla="*/ 117 h 166"/>
                <a:gd name="T60" fmla="*/ 1037 w 194"/>
                <a:gd name="T61" fmla="*/ 121 h 166"/>
                <a:gd name="T62" fmla="*/ 1081 w 194"/>
                <a:gd name="T63" fmla="*/ 91 h 166"/>
                <a:gd name="T64" fmla="*/ 1019 w 194"/>
                <a:gd name="T65" fmla="*/ 99 h 166"/>
                <a:gd name="T66" fmla="*/ 907 w 194"/>
                <a:gd name="T67" fmla="*/ 80 h 166"/>
                <a:gd name="T68" fmla="*/ 907 w 194"/>
                <a:gd name="T69" fmla="*/ 70 h 166"/>
                <a:gd name="T70" fmla="*/ 917 w 194"/>
                <a:gd name="T71" fmla="*/ 57 h 166"/>
                <a:gd name="T72" fmla="*/ 907 w 194"/>
                <a:gd name="T73" fmla="*/ 22 h 166"/>
                <a:gd name="T74" fmla="*/ 965 w 194"/>
                <a:gd name="T75" fmla="*/ 6 h 166"/>
                <a:gd name="T76" fmla="*/ 1238 w 194"/>
                <a:gd name="T77" fmla="*/ 0 h 16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4"/>
                <a:gd name="T118" fmla="*/ 0 h 166"/>
                <a:gd name="T119" fmla="*/ 194 w 194"/>
                <a:gd name="T120" fmla="*/ 166 h 16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4" h="166">
                  <a:moveTo>
                    <a:pt x="149" y="0"/>
                  </a:moveTo>
                  <a:lnTo>
                    <a:pt x="153" y="9"/>
                  </a:lnTo>
                  <a:lnTo>
                    <a:pt x="160" y="9"/>
                  </a:lnTo>
                  <a:lnTo>
                    <a:pt x="164" y="11"/>
                  </a:lnTo>
                  <a:lnTo>
                    <a:pt x="168" y="15"/>
                  </a:lnTo>
                  <a:lnTo>
                    <a:pt x="175" y="15"/>
                  </a:lnTo>
                  <a:lnTo>
                    <a:pt x="179" y="17"/>
                  </a:lnTo>
                  <a:lnTo>
                    <a:pt x="181" y="17"/>
                  </a:lnTo>
                  <a:lnTo>
                    <a:pt x="183" y="24"/>
                  </a:lnTo>
                  <a:lnTo>
                    <a:pt x="190" y="30"/>
                  </a:lnTo>
                  <a:lnTo>
                    <a:pt x="194" y="37"/>
                  </a:lnTo>
                  <a:lnTo>
                    <a:pt x="194" y="39"/>
                  </a:lnTo>
                  <a:lnTo>
                    <a:pt x="188" y="41"/>
                  </a:lnTo>
                  <a:lnTo>
                    <a:pt x="188" y="50"/>
                  </a:lnTo>
                  <a:lnTo>
                    <a:pt x="188" y="60"/>
                  </a:lnTo>
                  <a:lnTo>
                    <a:pt x="183" y="65"/>
                  </a:lnTo>
                  <a:lnTo>
                    <a:pt x="190" y="71"/>
                  </a:lnTo>
                  <a:lnTo>
                    <a:pt x="188" y="71"/>
                  </a:lnTo>
                  <a:lnTo>
                    <a:pt x="181" y="71"/>
                  </a:lnTo>
                  <a:lnTo>
                    <a:pt x="181" y="82"/>
                  </a:lnTo>
                  <a:lnTo>
                    <a:pt x="179" y="88"/>
                  </a:lnTo>
                  <a:lnTo>
                    <a:pt x="181" y="97"/>
                  </a:lnTo>
                  <a:lnTo>
                    <a:pt x="131" y="112"/>
                  </a:lnTo>
                  <a:lnTo>
                    <a:pt x="134" y="119"/>
                  </a:lnTo>
                  <a:lnTo>
                    <a:pt x="134" y="125"/>
                  </a:lnTo>
                  <a:lnTo>
                    <a:pt x="131" y="125"/>
                  </a:lnTo>
                  <a:lnTo>
                    <a:pt x="123" y="125"/>
                  </a:lnTo>
                  <a:lnTo>
                    <a:pt x="110" y="129"/>
                  </a:lnTo>
                  <a:lnTo>
                    <a:pt x="110" y="138"/>
                  </a:lnTo>
                  <a:lnTo>
                    <a:pt x="101" y="140"/>
                  </a:lnTo>
                  <a:lnTo>
                    <a:pt x="90" y="147"/>
                  </a:lnTo>
                  <a:lnTo>
                    <a:pt x="84" y="162"/>
                  </a:lnTo>
                  <a:lnTo>
                    <a:pt x="75" y="166"/>
                  </a:lnTo>
                  <a:lnTo>
                    <a:pt x="73" y="162"/>
                  </a:lnTo>
                  <a:lnTo>
                    <a:pt x="58" y="162"/>
                  </a:lnTo>
                  <a:lnTo>
                    <a:pt x="52" y="160"/>
                  </a:lnTo>
                  <a:lnTo>
                    <a:pt x="45" y="155"/>
                  </a:lnTo>
                  <a:lnTo>
                    <a:pt x="36" y="153"/>
                  </a:lnTo>
                  <a:lnTo>
                    <a:pt x="34" y="153"/>
                  </a:lnTo>
                  <a:lnTo>
                    <a:pt x="21" y="155"/>
                  </a:lnTo>
                  <a:lnTo>
                    <a:pt x="15" y="145"/>
                  </a:lnTo>
                  <a:lnTo>
                    <a:pt x="0" y="132"/>
                  </a:lnTo>
                  <a:lnTo>
                    <a:pt x="4" y="80"/>
                  </a:lnTo>
                  <a:lnTo>
                    <a:pt x="34" y="80"/>
                  </a:lnTo>
                  <a:lnTo>
                    <a:pt x="34" y="76"/>
                  </a:lnTo>
                  <a:lnTo>
                    <a:pt x="34" y="71"/>
                  </a:lnTo>
                  <a:lnTo>
                    <a:pt x="34" y="60"/>
                  </a:lnTo>
                  <a:lnTo>
                    <a:pt x="34" y="41"/>
                  </a:lnTo>
                  <a:lnTo>
                    <a:pt x="39" y="45"/>
                  </a:lnTo>
                  <a:lnTo>
                    <a:pt x="43" y="54"/>
                  </a:lnTo>
                  <a:lnTo>
                    <a:pt x="54" y="45"/>
                  </a:lnTo>
                  <a:lnTo>
                    <a:pt x="58" y="54"/>
                  </a:lnTo>
                  <a:lnTo>
                    <a:pt x="69" y="60"/>
                  </a:lnTo>
                  <a:lnTo>
                    <a:pt x="75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95" y="67"/>
                  </a:lnTo>
                  <a:lnTo>
                    <a:pt x="103" y="67"/>
                  </a:lnTo>
                  <a:lnTo>
                    <a:pt x="114" y="80"/>
                  </a:lnTo>
                  <a:lnTo>
                    <a:pt x="116" y="86"/>
                  </a:lnTo>
                  <a:lnTo>
                    <a:pt x="125" y="82"/>
                  </a:lnTo>
                  <a:lnTo>
                    <a:pt x="125" y="86"/>
                  </a:lnTo>
                  <a:lnTo>
                    <a:pt x="129" y="67"/>
                  </a:lnTo>
                  <a:lnTo>
                    <a:pt x="123" y="67"/>
                  </a:lnTo>
                  <a:lnTo>
                    <a:pt x="123" y="71"/>
                  </a:lnTo>
                  <a:lnTo>
                    <a:pt x="116" y="67"/>
                  </a:lnTo>
                  <a:lnTo>
                    <a:pt x="108" y="60"/>
                  </a:lnTo>
                  <a:lnTo>
                    <a:pt x="103" y="56"/>
                  </a:lnTo>
                  <a:lnTo>
                    <a:pt x="108" y="50"/>
                  </a:lnTo>
                  <a:lnTo>
                    <a:pt x="108" y="41"/>
                  </a:lnTo>
                  <a:lnTo>
                    <a:pt x="110" y="37"/>
                  </a:lnTo>
                  <a:lnTo>
                    <a:pt x="110" y="24"/>
                  </a:lnTo>
                  <a:lnTo>
                    <a:pt x="108" y="22"/>
                  </a:lnTo>
                  <a:lnTo>
                    <a:pt x="114" y="15"/>
                  </a:lnTo>
                  <a:lnTo>
                    <a:pt x="116" y="6"/>
                  </a:lnTo>
                  <a:lnTo>
                    <a:pt x="116" y="2"/>
                  </a:lnTo>
                  <a:lnTo>
                    <a:pt x="149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7" name="Freeform 191"/>
            <p:cNvSpPr>
              <a:spLocks noChangeAspect="1"/>
            </p:cNvSpPr>
            <p:nvPr/>
          </p:nvSpPr>
          <p:spPr bwMode="auto">
            <a:xfrm>
              <a:off x="2295" y="2402"/>
              <a:ext cx="109" cy="74"/>
            </a:xfrm>
            <a:custGeom>
              <a:avLst/>
              <a:gdLst>
                <a:gd name="T0" fmla="*/ 89 w 99"/>
                <a:gd name="T1" fmla="*/ 7 h 72"/>
                <a:gd name="T2" fmla="*/ 159 w 99"/>
                <a:gd name="T3" fmla="*/ 3 h 72"/>
                <a:gd name="T4" fmla="*/ 239 w 99"/>
                <a:gd name="T5" fmla="*/ 3 h 72"/>
                <a:gd name="T6" fmla="*/ 358 w 99"/>
                <a:gd name="T7" fmla="*/ 0 h 72"/>
                <a:gd name="T8" fmla="*/ 417 w 99"/>
                <a:gd name="T9" fmla="*/ 3 h 72"/>
                <a:gd name="T10" fmla="*/ 465 w 99"/>
                <a:gd name="T11" fmla="*/ 11 h 72"/>
                <a:gd name="T12" fmla="*/ 515 w 99"/>
                <a:gd name="T13" fmla="*/ 11 h 72"/>
                <a:gd name="T14" fmla="*/ 542 w 99"/>
                <a:gd name="T15" fmla="*/ 42 h 72"/>
                <a:gd name="T16" fmla="*/ 564 w 99"/>
                <a:gd name="T17" fmla="*/ 42 h 72"/>
                <a:gd name="T18" fmla="*/ 579 w 99"/>
                <a:gd name="T19" fmla="*/ 46 h 72"/>
                <a:gd name="T20" fmla="*/ 612 w 99"/>
                <a:gd name="T21" fmla="*/ 51 h 72"/>
                <a:gd name="T22" fmla="*/ 687 w 99"/>
                <a:gd name="T23" fmla="*/ 53 h 72"/>
                <a:gd name="T24" fmla="*/ 687 w 99"/>
                <a:gd name="T25" fmla="*/ 63 h 72"/>
                <a:gd name="T26" fmla="*/ 701 w 99"/>
                <a:gd name="T27" fmla="*/ 69 h 72"/>
                <a:gd name="T28" fmla="*/ 687 w 99"/>
                <a:gd name="T29" fmla="*/ 85 h 72"/>
                <a:gd name="T30" fmla="*/ 701 w 99"/>
                <a:gd name="T31" fmla="*/ 100 h 72"/>
                <a:gd name="T32" fmla="*/ 724 w 99"/>
                <a:gd name="T33" fmla="*/ 100 h 72"/>
                <a:gd name="T34" fmla="*/ 796 w 99"/>
                <a:gd name="T35" fmla="*/ 106 h 72"/>
                <a:gd name="T36" fmla="*/ 796 w 99"/>
                <a:gd name="T37" fmla="*/ 119 h 72"/>
                <a:gd name="T38" fmla="*/ 701 w 99"/>
                <a:gd name="T39" fmla="*/ 119 h 72"/>
                <a:gd name="T40" fmla="*/ 687 w 99"/>
                <a:gd name="T41" fmla="*/ 119 h 72"/>
                <a:gd name="T42" fmla="*/ 629 w 99"/>
                <a:gd name="T43" fmla="*/ 122 h 72"/>
                <a:gd name="T44" fmla="*/ 564 w 99"/>
                <a:gd name="T45" fmla="*/ 119 h 72"/>
                <a:gd name="T46" fmla="*/ 564 w 99"/>
                <a:gd name="T47" fmla="*/ 112 h 72"/>
                <a:gd name="T48" fmla="*/ 465 w 99"/>
                <a:gd name="T49" fmla="*/ 112 h 72"/>
                <a:gd name="T50" fmla="*/ 283 w 99"/>
                <a:gd name="T51" fmla="*/ 112 h 72"/>
                <a:gd name="T52" fmla="*/ 201 w 99"/>
                <a:gd name="T53" fmla="*/ 119 h 72"/>
                <a:gd name="T54" fmla="*/ 179 w 99"/>
                <a:gd name="T55" fmla="*/ 119 h 72"/>
                <a:gd name="T56" fmla="*/ 74 w 99"/>
                <a:gd name="T57" fmla="*/ 122 h 72"/>
                <a:gd name="T58" fmla="*/ 179 w 99"/>
                <a:gd name="T59" fmla="*/ 112 h 72"/>
                <a:gd name="T60" fmla="*/ 74 w 99"/>
                <a:gd name="T61" fmla="*/ 112 h 72"/>
                <a:gd name="T62" fmla="*/ 45 w 99"/>
                <a:gd name="T63" fmla="*/ 106 h 72"/>
                <a:gd name="T64" fmla="*/ 193 w 99"/>
                <a:gd name="T65" fmla="*/ 100 h 72"/>
                <a:gd name="T66" fmla="*/ 193 w 99"/>
                <a:gd name="T67" fmla="*/ 94 h 72"/>
                <a:gd name="T68" fmla="*/ 239 w 99"/>
                <a:gd name="T69" fmla="*/ 94 h 72"/>
                <a:gd name="T70" fmla="*/ 290 w 99"/>
                <a:gd name="T71" fmla="*/ 85 h 72"/>
                <a:gd name="T72" fmla="*/ 417 w 99"/>
                <a:gd name="T73" fmla="*/ 100 h 72"/>
                <a:gd name="T74" fmla="*/ 465 w 99"/>
                <a:gd name="T75" fmla="*/ 85 h 72"/>
                <a:gd name="T76" fmla="*/ 394 w 99"/>
                <a:gd name="T77" fmla="*/ 85 h 72"/>
                <a:gd name="T78" fmla="*/ 312 w 99"/>
                <a:gd name="T79" fmla="*/ 81 h 72"/>
                <a:gd name="T80" fmla="*/ 201 w 99"/>
                <a:gd name="T81" fmla="*/ 81 h 72"/>
                <a:gd name="T82" fmla="*/ 74 w 99"/>
                <a:gd name="T83" fmla="*/ 85 h 72"/>
                <a:gd name="T84" fmla="*/ 74 w 99"/>
                <a:gd name="T85" fmla="*/ 81 h 72"/>
                <a:gd name="T86" fmla="*/ 89 w 99"/>
                <a:gd name="T87" fmla="*/ 77 h 72"/>
                <a:gd name="T88" fmla="*/ 45 w 99"/>
                <a:gd name="T89" fmla="*/ 77 h 72"/>
                <a:gd name="T90" fmla="*/ 2 w 99"/>
                <a:gd name="T91" fmla="*/ 69 h 72"/>
                <a:gd name="T92" fmla="*/ 0 w 99"/>
                <a:gd name="T93" fmla="*/ 53 h 72"/>
                <a:gd name="T94" fmla="*/ 2 w 99"/>
                <a:gd name="T95" fmla="*/ 46 h 72"/>
                <a:gd name="T96" fmla="*/ 74 w 99"/>
                <a:gd name="T97" fmla="*/ 38 h 72"/>
                <a:gd name="T98" fmla="*/ 89 w 99"/>
                <a:gd name="T99" fmla="*/ 7 h 7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9"/>
                <a:gd name="T151" fmla="*/ 0 h 72"/>
                <a:gd name="T152" fmla="*/ 99 w 99"/>
                <a:gd name="T153" fmla="*/ 72 h 7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9" h="72">
                  <a:moveTo>
                    <a:pt x="11" y="7"/>
                  </a:moveTo>
                  <a:lnTo>
                    <a:pt x="19" y="3"/>
                  </a:lnTo>
                  <a:lnTo>
                    <a:pt x="30" y="3"/>
                  </a:lnTo>
                  <a:lnTo>
                    <a:pt x="45" y="0"/>
                  </a:lnTo>
                  <a:lnTo>
                    <a:pt x="52" y="3"/>
                  </a:lnTo>
                  <a:lnTo>
                    <a:pt x="58" y="11"/>
                  </a:lnTo>
                  <a:lnTo>
                    <a:pt x="65" y="11"/>
                  </a:lnTo>
                  <a:lnTo>
                    <a:pt x="67" y="22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6" y="31"/>
                  </a:lnTo>
                  <a:lnTo>
                    <a:pt x="86" y="33"/>
                  </a:lnTo>
                  <a:lnTo>
                    <a:pt x="86" y="39"/>
                  </a:lnTo>
                  <a:lnTo>
                    <a:pt x="88" y="42"/>
                  </a:lnTo>
                  <a:lnTo>
                    <a:pt x="86" y="50"/>
                  </a:lnTo>
                  <a:lnTo>
                    <a:pt x="88" y="57"/>
                  </a:lnTo>
                  <a:lnTo>
                    <a:pt x="91" y="57"/>
                  </a:lnTo>
                  <a:lnTo>
                    <a:pt x="99" y="61"/>
                  </a:lnTo>
                  <a:lnTo>
                    <a:pt x="99" y="70"/>
                  </a:lnTo>
                  <a:lnTo>
                    <a:pt x="88" y="70"/>
                  </a:lnTo>
                  <a:lnTo>
                    <a:pt x="86" y="70"/>
                  </a:lnTo>
                  <a:lnTo>
                    <a:pt x="80" y="72"/>
                  </a:lnTo>
                  <a:lnTo>
                    <a:pt x="71" y="70"/>
                  </a:lnTo>
                  <a:lnTo>
                    <a:pt x="71" y="65"/>
                  </a:lnTo>
                  <a:lnTo>
                    <a:pt x="58" y="65"/>
                  </a:lnTo>
                  <a:lnTo>
                    <a:pt x="35" y="65"/>
                  </a:lnTo>
                  <a:lnTo>
                    <a:pt x="26" y="70"/>
                  </a:lnTo>
                  <a:lnTo>
                    <a:pt x="22" y="70"/>
                  </a:lnTo>
                  <a:lnTo>
                    <a:pt x="9" y="72"/>
                  </a:lnTo>
                  <a:lnTo>
                    <a:pt x="22" y="65"/>
                  </a:lnTo>
                  <a:lnTo>
                    <a:pt x="9" y="65"/>
                  </a:lnTo>
                  <a:lnTo>
                    <a:pt x="6" y="61"/>
                  </a:lnTo>
                  <a:lnTo>
                    <a:pt x="24" y="57"/>
                  </a:lnTo>
                  <a:lnTo>
                    <a:pt x="24" y="54"/>
                  </a:lnTo>
                  <a:lnTo>
                    <a:pt x="30" y="54"/>
                  </a:lnTo>
                  <a:lnTo>
                    <a:pt x="37" y="50"/>
                  </a:lnTo>
                  <a:lnTo>
                    <a:pt x="52" y="57"/>
                  </a:lnTo>
                  <a:lnTo>
                    <a:pt x="58" y="50"/>
                  </a:lnTo>
                  <a:lnTo>
                    <a:pt x="50" y="50"/>
                  </a:lnTo>
                  <a:lnTo>
                    <a:pt x="39" y="48"/>
                  </a:lnTo>
                  <a:lnTo>
                    <a:pt x="26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46"/>
                  </a:lnTo>
                  <a:lnTo>
                    <a:pt x="6" y="46"/>
                  </a:lnTo>
                  <a:lnTo>
                    <a:pt x="2" y="42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9" y="18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8" name="Freeform 192"/>
            <p:cNvSpPr>
              <a:spLocks noChangeAspect="1"/>
            </p:cNvSpPr>
            <p:nvPr/>
          </p:nvSpPr>
          <p:spPr bwMode="auto">
            <a:xfrm>
              <a:off x="2370" y="2515"/>
              <a:ext cx="55" cy="57"/>
            </a:xfrm>
            <a:custGeom>
              <a:avLst/>
              <a:gdLst>
                <a:gd name="T0" fmla="*/ 0 w 50"/>
                <a:gd name="T1" fmla="*/ 17 h 56"/>
                <a:gd name="T2" fmla="*/ 43 w 50"/>
                <a:gd name="T3" fmla="*/ 10 h 56"/>
                <a:gd name="T4" fmla="*/ 69 w 50"/>
                <a:gd name="T5" fmla="*/ 10 h 56"/>
                <a:gd name="T6" fmla="*/ 118 w 50"/>
                <a:gd name="T7" fmla="*/ 2 h 56"/>
                <a:gd name="T8" fmla="*/ 124 w 50"/>
                <a:gd name="T9" fmla="*/ 2 h 56"/>
                <a:gd name="T10" fmla="*/ 266 w 50"/>
                <a:gd name="T11" fmla="*/ 0 h 56"/>
                <a:gd name="T12" fmla="*/ 306 w 50"/>
                <a:gd name="T13" fmla="*/ 8 h 56"/>
                <a:gd name="T14" fmla="*/ 306 w 50"/>
                <a:gd name="T15" fmla="*/ 15 h 56"/>
                <a:gd name="T16" fmla="*/ 322 w 50"/>
                <a:gd name="T17" fmla="*/ 17 h 56"/>
                <a:gd name="T18" fmla="*/ 322 w 50"/>
                <a:gd name="T19" fmla="*/ 25 h 56"/>
                <a:gd name="T20" fmla="*/ 389 w 50"/>
                <a:gd name="T21" fmla="*/ 25 h 56"/>
                <a:gd name="T22" fmla="*/ 389 w 50"/>
                <a:gd name="T23" fmla="*/ 52 h 56"/>
                <a:gd name="T24" fmla="*/ 354 w 50"/>
                <a:gd name="T25" fmla="*/ 52 h 56"/>
                <a:gd name="T26" fmla="*/ 354 w 50"/>
                <a:gd name="T27" fmla="*/ 58 h 56"/>
                <a:gd name="T28" fmla="*/ 306 w 50"/>
                <a:gd name="T29" fmla="*/ 65 h 56"/>
                <a:gd name="T30" fmla="*/ 266 w 50"/>
                <a:gd name="T31" fmla="*/ 76 h 56"/>
                <a:gd name="T32" fmla="*/ 165 w 50"/>
                <a:gd name="T33" fmla="*/ 69 h 56"/>
                <a:gd name="T34" fmla="*/ 43 w 50"/>
                <a:gd name="T35" fmla="*/ 61 h 56"/>
                <a:gd name="T36" fmla="*/ 43 w 50"/>
                <a:gd name="T37" fmla="*/ 56 h 56"/>
                <a:gd name="T38" fmla="*/ 0 w 50"/>
                <a:gd name="T39" fmla="*/ 25 h 56"/>
                <a:gd name="T40" fmla="*/ 0 w 50"/>
                <a:gd name="T41" fmla="*/ 21 h 56"/>
                <a:gd name="T42" fmla="*/ 0 w 50"/>
                <a:gd name="T43" fmla="*/ 17 h 5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0"/>
                <a:gd name="T67" fmla="*/ 0 h 56"/>
                <a:gd name="T68" fmla="*/ 50 w 50"/>
                <a:gd name="T69" fmla="*/ 56 h 5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0" h="56">
                  <a:moveTo>
                    <a:pt x="0" y="17"/>
                  </a:moveTo>
                  <a:lnTo>
                    <a:pt x="6" y="10"/>
                  </a:lnTo>
                  <a:lnTo>
                    <a:pt x="9" y="1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34" y="0"/>
                  </a:lnTo>
                  <a:lnTo>
                    <a:pt x="39" y="8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25"/>
                  </a:lnTo>
                  <a:lnTo>
                    <a:pt x="50" y="25"/>
                  </a:lnTo>
                  <a:lnTo>
                    <a:pt x="50" y="32"/>
                  </a:lnTo>
                  <a:lnTo>
                    <a:pt x="45" y="32"/>
                  </a:lnTo>
                  <a:lnTo>
                    <a:pt x="45" y="38"/>
                  </a:lnTo>
                  <a:lnTo>
                    <a:pt x="39" y="45"/>
                  </a:lnTo>
                  <a:lnTo>
                    <a:pt x="34" y="56"/>
                  </a:lnTo>
                  <a:lnTo>
                    <a:pt x="21" y="49"/>
                  </a:lnTo>
                  <a:lnTo>
                    <a:pt x="6" y="41"/>
                  </a:lnTo>
                  <a:lnTo>
                    <a:pt x="6" y="36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199" name="Freeform 193"/>
            <p:cNvSpPr>
              <a:spLocks noChangeAspect="1"/>
            </p:cNvSpPr>
            <p:nvPr/>
          </p:nvSpPr>
          <p:spPr bwMode="auto">
            <a:xfrm>
              <a:off x="3057" y="2952"/>
              <a:ext cx="141" cy="117"/>
            </a:xfrm>
            <a:custGeom>
              <a:avLst/>
              <a:gdLst>
                <a:gd name="T0" fmla="*/ 0 w 129"/>
                <a:gd name="T1" fmla="*/ 55 h 115"/>
                <a:gd name="T2" fmla="*/ 56 w 129"/>
                <a:gd name="T3" fmla="*/ 57 h 115"/>
                <a:gd name="T4" fmla="*/ 164 w 129"/>
                <a:gd name="T5" fmla="*/ 57 h 115"/>
                <a:gd name="T6" fmla="*/ 179 w 129"/>
                <a:gd name="T7" fmla="*/ 61 h 115"/>
                <a:gd name="T8" fmla="*/ 216 w 129"/>
                <a:gd name="T9" fmla="*/ 57 h 115"/>
                <a:gd name="T10" fmla="*/ 280 w 129"/>
                <a:gd name="T11" fmla="*/ 22 h 115"/>
                <a:gd name="T12" fmla="*/ 337 w 129"/>
                <a:gd name="T13" fmla="*/ 15 h 115"/>
                <a:gd name="T14" fmla="*/ 416 w 129"/>
                <a:gd name="T15" fmla="*/ 11 h 115"/>
                <a:gd name="T16" fmla="*/ 416 w 129"/>
                <a:gd name="T17" fmla="*/ 4 h 115"/>
                <a:gd name="T18" fmla="*/ 501 w 129"/>
                <a:gd name="T19" fmla="*/ 0 h 115"/>
                <a:gd name="T20" fmla="*/ 569 w 129"/>
                <a:gd name="T21" fmla="*/ 0 h 115"/>
                <a:gd name="T22" fmla="*/ 581 w 129"/>
                <a:gd name="T23" fmla="*/ 0 h 115"/>
                <a:gd name="T24" fmla="*/ 599 w 129"/>
                <a:gd name="T25" fmla="*/ 7 h 115"/>
                <a:gd name="T26" fmla="*/ 694 w 129"/>
                <a:gd name="T27" fmla="*/ 4 h 115"/>
                <a:gd name="T28" fmla="*/ 709 w 129"/>
                <a:gd name="T29" fmla="*/ 7 h 115"/>
                <a:gd name="T30" fmla="*/ 759 w 129"/>
                <a:gd name="T31" fmla="*/ 9 h 115"/>
                <a:gd name="T32" fmla="*/ 785 w 129"/>
                <a:gd name="T33" fmla="*/ 11 h 115"/>
                <a:gd name="T34" fmla="*/ 858 w 129"/>
                <a:gd name="T35" fmla="*/ 11 h 115"/>
                <a:gd name="T36" fmla="*/ 858 w 129"/>
                <a:gd name="T37" fmla="*/ 15 h 115"/>
                <a:gd name="T38" fmla="*/ 888 w 129"/>
                <a:gd name="T39" fmla="*/ 24 h 115"/>
                <a:gd name="T40" fmla="*/ 888 w 129"/>
                <a:gd name="T41" fmla="*/ 55 h 115"/>
                <a:gd name="T42" fmla="*/ 888 w 129"/>
                <a:gd name="T43" fmla="*/ 63 h 115"/>
                <a:gd name="T44" fmla="*/ 888 w 129"/>
                <a:gd name="T45" fmla="*/ 65 h 115"/>
                <a:gd name="T46" fmla="*/ 858 w 129"/>
                <a:gd name="T47" fmla="*/ 70 h 115"/>
                <a:gd name="T48" fmla="*/ 888 w 129"/>
                <a:gd name="T49" fmla="*/ 72 h 115"/>
                <a:gd name="T50" fmla="*/ 858 w 129"/>
                <a:gd name="T51" fmla="*/ 72 h 115"/>
                <a:gd name="T52" fmla="*/ 858 w 129"/>
                <a:gd name="T53" fmla="*/ 78 h 115"/>
                <a:gd name="T54" fmla="*/ 858 w 129"/>
                <a:gd name="T55" fmla="*/ 85 h 115"/>
                <a:gd name="T56" fmla="*/ 888 w 129"/>
                <a:gd name="T57" fmla="*/ 95 h 115"/>
                <a:gd name="T58" fmla="*/ 819 w 129"/>
                <a:gd name="T59" fmla="*/ 113 h 115"/>
                <a:gd name="T60" fmla="*/ 812 w 129"/>
                <a:gd name="T61" fmla="*/ 125 h 115"/>
                <a:gd name="T62" fmla="*/ 812 w 129"/>
                <a:gd name="T63" fmla="*/ 131 h 115"/>
                <a:gd name="T64" fmla="*/ 801 w 129"/>
                <a:gd name="T65" fmla="*/ 139 h 115"/>
                <a:gd name="T66" fmla="*/ 684 w 129"/>
                <a:gd name="T67" fmla="*/ 160 h 115"/>
                <a:gd name="T68" fmla="*/ 649 w 129"/>
                <a:gd name="T69" fmla="*/ 153 h 115"/>
                <a:gd name="T70" fmla="*/ 581 w 129"/>
                <a:gd name="T71" fmla="*/ 160 h 115"/>
                <a:gd name="T72" fmla="*/ 521 w 129"/>
                <a:gd name="T73" fmla="*/ 153 h 115"/>
                <a:gd name="T74" fmla="*/ 439 w 129"/>
                <a:gd name="T75" fmla="*/ 153 h 115"/>
                <a:gd name="T76" fmla="*/ 416 w 129"/>
                <a:gd name="T77" fmla="*/ 153 h 115"/>
                <a:gd name="T78" fmla="*/ 416 w 129"/>
                <a:gd name="T79" fmla="*/ 142 h 115"/>
                <a:gd name="T80" fmla="*/ 337 w 129"/>
                <a:gd name="T81" fmla="*/ 139 h 115"/>
                <a:gd name="T82" fmla="*/ 308 w 129"/>
                <a:gd name="T83" fmla="*/ 139 h 115"/>
                <a:gd name="T84" fmla="*/ 280 w 129"/>
                <a:gd name="T85" fmla="*/ 131 h 115"/>
                <a:gd name="T86" fmla="*/ 258 w 129"/>
                <a:gd name="T87" fmla="*/ 113 h 115"/>
                <a:gd name="T88" fmla="*/ 236 w 129"/>
                <a:gd name="T89" fmla="*/ 113 h 115"/>
                <a:gd name="T90" fmla="*/ 216 w 129"/>
                <a:gd name="T91" fmla="*/ 95 h 115"/>
                <a:gd name="T92" fmla="*/ 164 w 129"/>
                <a:gd name="T93" fmla="*/ 87 h 115"/>
                <a:gd name="T94" fmla="*/ 87 w 129"/>
                <a:gd name="T95" fmla="*/ 81 h 115"/>
                <a:gd name="T96" fmla="*/ 87 w 129"/>
                <a:gd name="T97" fmla="*/ 74 h 115"/>
                <a:gd name="T98" fmla="*/ 4 w 129"/>
                <a:gd name="T99" fmla="*/ 63 h 115"/>
                <a:gd name="T100" fmla="*/ 0 w 129"/>
                <a:gd name="T101" fmla="*/ 55 h 11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9"/>
                <a:gd name="T154" fmla="*/ 0 h 115"/>
                <a:gd name="T155" fmla="*/ 129 w 129"/>
                <a:gd name="T156" fmla="*/ 115 h 11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9" h="115">
                  <a:moveTo>
                    <a:pt x="0" y="35"/>
                  </a:moveTo>
                  <a:lnTo>
                    <a:pt x="8" y="37"/>
                  </a:lnTo>
                  <a:lnTo>
                    <a:pt x="23" y="37"/>
                  </a:lnTo>
                  <a:lnTo>
                    <a:pt x="26" y="41"/>
                  </a:lnTo>
                  <a:lnTo>
                    <a:pt x="32" y="37"/>
                  </a:lnTo>
                  <a:lnTo>
                    <a:pt x="41" y="22"/>
                  </a:lnTo>
                  <a:lnTo>
                    <a:pt x="49" y="15"/>
                  </a:lnTo>
                  <a:lnTo>
                    <a:pt x="60" y="11"/>
                  </a:lnTo>
                  <a:lnTo>
                    <a:pt x="60" y="4"/>
                  </a:lnTo>
                  <a:lnTo>
                    <a:pt x="73" y="0"/>
                  </a:lnTo>
                  <a:lnTo>
                    <a:pt x="82" y="0"/>
                  </a:lnTo>
                  <a:lnTo>
                    <a:pt x="84" y="0"/>
                  </a:lnTo>
                  <a:lnTo>
                    <a:pt x="88" y="7"/>
                  </a:lnTo>
                  <a:lnTo>
                    <a:pt x="101" y="4"/>
                  </a:lnTo>
                  <a:lnTo>
                    <a:pt x="103" y="7"/>
                  </a:lnTo>
                  <a:lnTo>
                    <a:pt x="110" y="9"/>
                  </a:lnTo>
                  <a:lnTo>
                    <a:pt x="114" y="11"/>
                  </a:lnTo>
                  <a:lnTo>
                    <a:pt x="125" y="11"/>
                  </a:lnTo>
                  <a:lnTo>
                    <a:pt x="125" y="15"/>
                  </a:lnTo>
                  <a:lnTo>
                    <a:pt x="129" y="24"/>
                  </a:lnTo>
                  <a:lnTo>
                    <a:pt x="129" y="35"/>
                  </a:lnTo>
                  <a:lnTo>
                    <a:pt x="129" y="43"/>
                  </a:lnTo>
                  <a:lnTo>
                    <a:pt x="129" y="45"/>
                  </a:lnTo>
                  <a:lnTo>
                    <a:pt x="125" y="50"/>
                  </a:lnTo>
                  <a:lnTo>
                    <a:pt x="129" y="52"/>
                  </a:lnTo>
                  <a:lnTo>
                    <a:pt x="125" y="52"/>
                  </a:lnTo>
                  <a:lnTo>
                    <a:pt x="125" y="58"/>
                  </a:lnTo>
                  <a:lnTo>
                    <a:pt x="125" y="65"/>
                  </a:lnTo>
                  <a:lnTo>
                    <a:pt x="129" y="71"/>
                  </a:lnTo>
                  <a:lnTo>
                    <a:pt x="120" y="80"/>
                  </a:lnTo>
                  <a:lnTo>
                    <a:pt x="118" y="86"/>
                  </a:lnTo>
                  <a:lnTo>
                    <a:pt x="118" y="91"/>
                  </a:lnTo>
                  <a:lnTo>
                    <a:pt x="116" y="99"/>
                  </a:lnTo>
                  <a:lnTo>
                    <a:pt x="99" y="115"/>
                  </a:lnTo>
                  <a:lnTo>
                    <a:pt x="95" y="110"/>
                  </a:lnTo>
                  <a:lnTo>
                    <a:pt x="84" y="115"/>
                  </a:lnTo>
                  <a:lnTo>
                    <a:pt x="75" y="110"/>
                  </a:lnTo>
                  <a:lnTo>
                    <a:pt x="64" y="110"/>
                  </a:lnTo>
                  <a:lnTo>
                    <a:pt x="60" y="110"/>
                  </a:lnTo>
                  <a:lnTo>
                    <a:pt x="60" y="102"/>
                  </a:lnTo>
                  <a:lnTo>
                    <a:pt x="49" y="99"/>
                  </a:lnTo>
                  <a:lnTo>
                    <a:pt x="45" y="99"/>
                  </a:lnTo>
                  <a:lnTo>
                    <a:pt x="41" y="91"/>
                  </a:lnTo>
                  <a:lnTo>
                    <a:pt x="38" y="80"/>
                  </a:lnTo>
                  <a:lnTo>
                    <a:pt x="34" y="80"/>
                  </a:lnTo>
                  <a:lnTo>
                    <a:pt x="32" y="71"/>
                  </a:lnTo>
                  <a:lnTo>
                    <a:pt x="23" y="67"/>
                  </a:lnTo>
                  <a:lnTo>
                    <a:pt x="13" y="61"/>
                  </a:lnTo>
                  <a:lnTo>
                    <a:pt x="13" y="54"/>
                  </a:lnTo>
                  <a:lnTo>
                    <a:pt x="4" y="43"/>
                  </a:lnTo>
                  <a:lnTo>
                    <a:pt x="0" y="35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0" name="Freeform 194"/>
            <p:cNvSpPr>
              <a:spLocks noChangeAspect="1"/>
            </p:cNvSpPr>
            <p:nvPr/>
          </p:nvSpPr>
          <p:spPr bwMode="auto">
            <a:xfrm>
              <a:off x="3346" y="2487"/>
              <a:ext cx="181" cy="224"/>
            </a:xfrm>
            <a:custGeom>
              <a:avLst/>
              <a:gdLst>
                <a:gd name="T0" fmla="*/ 237 w 164"/>
                <a:gd name="T1" fmla="*/ 19 h 220"/>
                <a:gd name="T2" fmla="*/ 274 w 164"/>
                <a:gd name="T3" fmla="*/ 12 h 220"/>
                <a:gd name="T4" fmla="*/ 289 w 164"/>
                <a:gd name="T5" fmla="*/ 10 h 220"/>
                <a:gd name="T6" fmla="*/ 398 w 164"/>
                <a:gd name="T7" fmla="*/ 25 h 220"/>
                <a:gd name="T8" fmla="*/ 472 w 164"/>
                <a:gd name="T9" fmla="*/ 48 h 220"/>
                <a:gd name="T10" fmla="*/ 621 w 164"/>
                <a:gd name="T11" fmla="*/ 19 h 220"/>
                <a:gd name="T12" fmla="*/ 727 w 164"/>
                <a:gd name="T13" fmla="*/ 21 h 220"/>
                <a:gd name="T14" fmla="*/ 880 w 164"/>
                <a:gd name="T15" fmla="*/ 15 h 220"/>
                <a:gd name="T16" fmla="*/ 917 w 164"/>
                <a:gd name="T17" fmla="*/ 15 h 220"/>
                <a:gd name="T18" fmla="*/ 1033 w 164"/>
                <a:gd name="T19" fmla="*/ 12 h 220"/>
                <a:gd name="T20" fmla="*/ 1128 w 164"/>
                <a:gd name="T21" fmla="*/ 12 h 220"/>
                <a:gd name="T22" fmla="*/ 1222 w 164"/>
                <a:gd name="T23" fmla="*/ 10 h 220"/>
                <a:gd name="T24" fmla="*/ 1297 w 164"/>
                <a:gd name="T25" fmla="*/ 6 h 220"/>
                <a:gd name="T26" fmla="*/ 1297 w 164"/>
                <a:gd name="T27" fmla="*/ 0 h 220"/>
                <a:gd name="T28" fmla="*/ 1388 w 164"/>
                <a:gd name="T29" fmla="*/ 4 h 220"/>
                <a:gd name="T30" fmla="*/ 1361 w 164"/>
                <a:gd name="T31" fmla="*/ 12 h 220"/>
                <a:gd name="T32" fmla="*/ 1361 w 164"/>
                <a:gd name="T33" fmla="*/ 15 h 220"/>
                <a:gd name="T34" fmla="*/ 1361 w 164"/>
                <a:gd name="T35" fmla="*/ 48 h 220"/>
                <a:gd name="T36" fmla="*/ 1323 w 164"/>
                <a:gd name="T37" fmla="*/ 63 h 220"/>
                <a:gd name="T38" fmla="*/ 1222 w 164"/>
                <a:gd name="T39" fmla="*/ 80 h 220"/>
                <a:gd name="T40" fmla="*/ 1196 w 164"/>
                <a:gd name="T41" fmla="*/ 95 h 220"/>
                <a:gd name="T42" fmla="*/ 1196 w 164"/>
                <a:gd name="T43" fmla="*/ 103 h 220"/>
                <a:gd name="T44" fmla="*/ 1086 w 164"/>
                <a:gd name="T45" fmla="*/ 132 h 220"/>
                <a:gd name="T46" fmla="*/ 1086 w 164"/>
                <a:gd name="T47" fmla="*/ 139 h 220"/>
                <a:gd name="T48" fmla="*/ 947 w 164"/>
                <a:gd name="T49" fmla="*/ 178 h 220"/>
                <a:gd name="T50" fmla="*/ 704 w 164"/>
                <a:gd name="T51" fmla="*/ 219 h 220"/>
                <a:gd name="T52" fmla="*/ 560 w 164"/>
                <a:gd name="T53" fmla="*/ 239 h 220"/>
                <a:gd name="T54" fmla="*/ 289 w 164"/>
                <a:gd name="T55" fmla="*/ 276 h 220"/>
                <a:gd name="T56" fmla="*/ 75 w 164"/>
                <a:gd name="T57" fmla="*/ 315 h 220"/>
                <a:gd name="T58" fmla="*/ 0 w 164"/>
                <a:gd name="T59" fmla="*/ 299 h 220"/>
                <a:gd name="T60" fmla="*/ 0 w 164"/>
                <a:gd name="T61" fmla="*/ 213 h 220"/>
                <a:gd name="T62" fmla="*/ 125 w 164"/>
                <a:gd name="T63" fmla="*/ 187 h 220"/>
                <a:gd name="T64" fmla="*/ 204 w 164"/>
                <a:gd name="T65" fmla="*/ 184 h 220"/>
                <a:gd name="T66" fmla="*/ 274 w 164"/>
                <a:gd name="T67" fmla="*/ 184 h 220"/>
                <a:gd name="T68" fmla="*/ 333 w 164"/>
                <a:gd name="T69" fmla="*/ 168 h 220"/>
                <a:gd name="T70" fmla="*/ 494 w 164"/>
                <a:gd name="T71" fmla="*/ 162 h 220"/>
                <a:gd name="T72" fmla="*/ 560 w 164"/>
                <a:gd name="T73" fmla="*/ 162 h 220"/>
                <a:gd name="T74" fmla="*/ 947 w 164"/>
                <a:gd name="T75" fmla="*/ 85 h 220"/>
                <a:gd name="T76" fmla="*/ 821 w 164"/>
                <a:gd name="T77" fmla="*/ 85 h 220"/>
                <a:gd name="T78" fmla="*/ 398 w 164"/>
                <a:gd name="T79" fmla="*/ 65 h 220"/>
                <a:gd name="T80" fmla="*/ 333 w 164"/>
                <a:gd name="T81" fmla="*/ 58 h 220"/>
                <a:gd name="T82" fmla="*/ 204 w 164"/>
                <a:gd name="T83" fmla="*/ 25 h 220"/>
                <a:gd name="T84" fmla="*/ 237 w 164"/>
                <a:gd name="T85" fmla="*/ 19 h 2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220"/>
                <a:gd name="T131" fmla="*/ 164 w 164"/>
                <a:gd name="T132" fmla="*/ 220 h 2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220">
                  <a:moveTo>
                    <a:pt x="28" y="19"/>
                  </a:moveTo>
                  <a:lnTo>
                    <a:pt x="32" y="12"/>
                  </a:lnTo>
                  <a:lnTo>
                    <a:pt x="34" y="10"/>
                  </a:lnTo>
                  <a:lnTo>
                    <a:pt x="47" y="25"/>
                  </a:lnTo>
                  <a:lnTo>
                    <a:pt x="56" y="28"/>
                  </a:lnTo>
                  <a:lnTo>
                    <a:pt x="73" y="19"/>
                  </a:lnTo>
                  <a:lnTo>
                    <a:pt x="86" y="21"/>
                  </a:lnTo>
                  <a:lnTo>
                    <a:pt x="103" y="15"/>
                  </a:lnTo>
                  <a:lnTo>
                    <a:pt x="108" y="15"/>
                  </a:lnTo>
                  <a:lnTo>
                    <a:pt x="123" y="12"/>
                  </a:lnTo>
                  <a:lnTo>
                    <a:pt x="134" y="12"/>
                  </a:lnTo>
                  <a:lnTo>
                    <a:pt x="145" y="10"/>
                  </a:lnTo>
                  <a:lnTo>
                    <a:pt x="153" y="6"/>
                  </a:lnTo>
                  <a:lnTo>
                    <a:pt x="153" y="0"/>
                  </a:lnTo>
                  <a:lnTo>
                    <a:pt x="164" y="4"/>
                  </a:lnTo>
                  <a:lnTo>
                    <a:pt x="160" y="12"/>
                  </a:lnTo>
                  <a:lnTo>
                    <a:pt x="160" y="15"/>
                  </a:lnTo>
                  <a:lnTo>
                    <a:pt x="160" y="28"/>
                  </a:lnTo>
                  <a:lnTo>
                    <a:pt x="157" y="43"/>
                  </a:lnTo>
                  <a:lnTo>
                    <a:pt x="145" y="60"/>
                  </a:lnTo>
                  <a:lnTo>
                    <a:pt x="142" y="69"/>
                  </a:lnTo>
                  <a:lnTo>
                    <a:pt x="142" y="73"/>
                  </a:lnTo>
                  <a:lnTo>
                    <a:pt x="129" y="92"/>
                  </a:lnTo>
                  <a:lnTo>
                    <a:pt x="129" y="99"/>
                  </a:lnTo>
                  <a:lnTo>
                    <a:pt x="112" y="125"/>
                  </a:lnTo>
                  <a:lnTo>
                    <a:pt x="84" y="153"/>
                  </a:lnTo>
                  <a:lnTo>
                    <a:pt x="65" y="168"/>
                  </a:lnTo>
                  <a:lnTo>
                    <a:pt x="34" y="192"/>
                  </a:lnTo>
                  <a:lnTo>
                    <a:pt x="9" y="220"/>
                  </a:lnTo>
                  <a:lnTo>
                    <a:pt x="0" y="209"/>
                  </a:lnTo>
                  <a:lnTo>
                    <a:pt x="0" y="148"/>
                  </a:lnTo>
                  <a:lnTo>
                    <a:pt x="15" y="131"/>
                  </a:lnTo>
                  <a:lnTo>
                    <a:pt x="24" y="129"/>
                  </a:lnTo>
                  <a:lnTo>
                    <a:pt x="32" y="129"/>
                  </a:lnTo>
                  <a:lnTo>
                    <a:pt x="39" y="118"/>
                  </a:lnTo>
                  <a:lnTo>
                    <a:pt x="58" y="114"/>
                  </a:lnTo>
                  <a:lnTo>
                    <a:pt x="65" y="114"/>
                  </a:lnTo>
                  <a:lnTo>
                    <a:pt x="112" y="64"/>
                  </a:lnTo>
                  <a:lnTo>
                    <a:pt x="97" y="64"/>
                  </a:lnTo>
                  <a:lnTo>
                    <a:pt x="47" y="45"/>
                  </a:lnTo>
                  <a:lnTo>
                    <a:pt x="39" y="38"/>
                  </a:lnTo>
                  <a:lnTo>
                    <a:pt x="24" y="25"/>
                  </a:lnTo>
                  <a:lnTo>
                    <a:pt x="28" y="1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1" name="Freeform 195"/>
            <p:cNvSpPr>
              <a:spLocks noChangeAspect="1"/>
            </p:cNvSpPr>
            <p:nvPr/>
          </p:nvSpPr>
          <p:spPr bwMode="auto">
            <a:xfrm>
              <a:off x="2894" y="3064"/>
              <a:ext cx="292" cy="228"/>
            </a:xfrm>
            <a:custGeom>
              <a:avLst/>
              <a:gdLst>
                <a:gd name="T0" fmla="*/ 1637 w 265"/>
                <a:gd name="T1" fmla="*/ 7 h 225"/>
                <a:gd name="T2" fmla="*/ 1513 w 265"/>
                <a:gd name="T3" fmla="*/ 15 h 225"/>
                <a:gd name="T4" fmla="*/ 1466 w 265"/>
                <a:gd name="T5" fmla="*/ 20 h 225"/>
                <a:gd name="T6" fmla="*/ 1383 w 265"/>
                <a:gd name="T7" fmla="*/ 28 h 225"/>
                <a:gd name="T8" fmla="*/ 1344 w 265"/>
                <a:gd name="T9" fmla="*/ 61 h 225"/>
                <a:gd name="T10" fmla="*/ 1194 w 265"/>
                <a:gd name="T11" fmla="*/ 79 h 225"/>
                <a:gd name="T12" fmla="*/ 1061 w 265"/>
                <a:gd name="T13" fmla="*/ 79 h 225"/>
                <a:gd name="T14" fmla="*/ 893 w 265"/>
                <a:gd name="T15" fmla="*/ 74 h 225"/>
                <a:gd name="T16" fmla="*/ 826 w 265"/>
                <a:gd name="T17" fmla="*/ 85 h 225"/>
                <a:gd name="T18" fmla="*/ 699 w 265"/>
                <a:gd name="T19" fmla="*/ 94 h 225"/>
                <a:gd name="T20" fmla="*/ 618 w 265"/>
                <a:gd name="T21" fmla="*/ 96 h 225"/>
                <a:gd name="T22" fmla="*/ 549 w 265"/>
                <a:gd name="T23" fmla="*/ 91 h 225"/>
                <a:gd name="T24" fmla="*/ 549 w 265"/>
                <a:gd name="T25" fmla="*/ 79 h 225"/>
                <a:gd name="T26" fmla="*/ 473 w 265"/>
                <a:gd name="T27" fmla="*/ 63 h 225"/>
                <a:gd name="T28" fmla="*/ 396 w 265"/>
                <a:gd name="T29" fmla="*/ 143 h 225"/>
                <a:gd name="T30" fmla="*/ 336 w 265"/>
                <a:gd name="T31" fmla="*/ 157 h 225"/>
                <a:gd name="T32" fmla="*/ 207 w 265"/>
                <a:gd name="T33" fmla="*/ 155 h 225"/>
                <a:gd name="T34" fmla="*/ 90 w 265"/>
                <a:gd name="T35" fmla="*/ 147 h 225"/>
                <a:gd name="T36" fmla="*/ 90 w 265"/>
                <a:gd name="T37" fmla="*/ 131 h 225"/>
                <a:gd name="T38" fmla="*/ 2 w 265"/>
                <a:gd name="T39" fmla="*/ 143 h 225"/>
                <a:gd name="T40" fmla="*/ 2 w 265"/>
                <a:gd name="T41" fmla="*/ 161 h 225"/>
                <a:gd name="T42" fmla="*/ 207 w 265"/>
                <a:gd name="T43" fmla="*/ 212 h 225"/>
                <a:gd name="T44" fmla="*/ 207 w 265"/>
                <a:gd name="T45" fmla="*/ 242 h 225"/>
                <a:gd name="T46" fmla="*/ 160 w 265"/>
                <a:gd name="T47" fmla="*/ 248 h 225"/>
                <a:gd name="T48" fmla="*/ 207 w 265"/>
                <a:gd name="T49" fmla="*/ 277 h 225"/>
                <a:gd name="T50" fmla="*/ 207 w 265"/>
                <a:gd name="T51" fmla="*/ 272 h 225"/>
                <a:gd name="T52" fmla="*/ 277 w 265"/>
                <a:gd name="T53" fmla="*/ 277 h 225"/>
                <a:gd name="T54" fmla="*/ 336 w 265"/>
                <a:gd name="T55" fmla="*/ 285 h 225"/>
                <a:gd name="T56" fmla="*/ 462 w 265"/>
                <a:gd name="T57" fmla="*/ 283 h 225"/>
                <a:gd name="T58" fmla="*/ 603 w 265"/>
                <a:gd name="T59" fmla="*/ 277 h 225"/>
                <a:gd name="T60" fmla="*/ 699 w 265"/>
                <a:gd name="T61" fmla="*/ 272 h 225"/>
                <a:gd name="T62" fmla="*/ 893 w 265"/>
                <a:gd name="T63" fmla="*/ 272 h 225"/>
                <a:gd name="T64" fmla="*/ 1068 w 265"/>
                <a:gd name="T65" fmla="*/ 272 h 225"/>
                <a:gd name="T66" fmla="*/ 1175 w 265"/>
                <a:gd name="T67" fmla="*/ 265 h 225"/>
                <a:gd name="T68" fmla="*/ 1535 w 265"/>
                <a:gd name="T69" fmla="*/ 242 h 225"/>
                <a:gd name="T70" fmla="*/ 1796 w 265"/>
                <a:gd name="T71" fmla="*/ 200 h 225"/>
                <a:gd name="T72" fmla="*/ 1893 w 265"/>
                <a:gd name="T73" fmla="*/ 178 h 225"/>
                <a:gd name="T74" fmla="*/ 2053 w 265"/>
                <a:gd name="T75" fmla="*/ 155 h 225"/>
                <a:gd name="T76" fmla="*/ 2171 w 265"/>
                <a:gd name="T77" fmla="*/ 104 h 225"/>
                <a:gd name="T78" fmla="*/ 2053 w 265"/>
                <a:gd name="T79" fmla="*/ 100 h 225"/>
                <a:gd name="T80" fmla="*/ 1961 w 265"/>
                <a:gd name="T81" fmla="*/ 107 h 225"/>
                <a:gd name="T82" fmla="*/ 1961 w 265"/>
                <a:gd name="T83" fmla="*/ 85 h 225"/>
                <a:gd name="T84" fmla="*/ 2053 w 265"/>
                <a:gd name="T85" fmla="*/ 81 h 225"/>
                <a:gd name="T86" fmla="*/ 2053 w 265"/>
                <a:gd name="T87" fmla="*/ 37 h 225"/>
                <a:gd name="T88" fmla="*/ 2038 w 265"/>
                <a:gd name="T89" fmla="*/ 15 h 225"/>
                <a:gd name="T90" fmla="*/ 1988 w 265"/>
                <a:gd name="T91" fmla="*/ 5 h 225"/>
                <a:gd name="T92" fmla="*/ 1893 w 265"/>
                <a:gd name="T93" fmla="*/ 5 h 225"/>
                <a:gd name="T94" fmla="*/ 1728 w 265"/>
                <a:gd name="T95" fmla="*/ 0 h 22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65"/>
                <a:gd name="T145" fmla="*/ 0 h 225"/>
                <a:gd name="T146" fmla="*/ 265 w 265"/>
                <a:gd name="T147" fmla="*/ 225 h 22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65" h="225">
                  <a:moveTo>
                    <a:pt x="205" y="0"/>
                  </a:moveTo>
                  <a:lnTo>
                    <a:pt x="201" y="7"/>
                  </a:lnTo>
                  <a:lnTo>
                    <a:pt x="194" y="7"/>
                  </a:lnTo>
                  <a:lnTo>
                    <a:pt x="185" y="15"/>
                  </a:lnTo>
                  <a:lnTo>
                    <a:pt x="181" y="15"/>
                  </a:lnTo>
                  <a:lnTo>
                    <a:pt x="179" y="20"/>
                  </a:lnTo>
                  <a:lnTo>
                    <a:pt x="175" y="22"/>
                  </a:lnTo>
                  <a:lnTo>
                    <a:pt x="170" y="28"/>
                  </a:lnTo>
                  <a:lnTo>
                    <a:pt x="170" y="37"/>
                  </a:lnTo>
                  <a:lnTo>
                    <a:pt x="164" y="41"/>
                  </a:lnTo>
                  <a:lnTo>
                    <a:pt x="155" y="43"/>
                  </a:lnTo>
                  <a:lnTo>
                    <a:pt x="147" y="59"/>
                  </a:lnTo>
                  <a:lnTo>
                    <a:pt x="138" y="59"/>
                  </a:lnTo>
                  <a:lnTo>
                    <a:pt x="129" y="59"/>
                  </a:lnTo>
                  <a:lnTo>
                    <a:pt x="121" y="59"/>
                  </a:lnTo>
                  <a:lnTo>
                    <a:pt x="110" y="54"/>
                  </a:lnTo>
                  <a:lnTo>
                    <a:pt x="101" y="54"/>
                  </a:lnTo>
                  <a:lnTo>
                    <a:pt x="101" y="65"/>
                  </a:lnTo>
                  <a:lnTo>
                    <a:pt x="90" y="74"/>
                  </a:lnTo>
                  <a:lnTo>
                    <a:pt x="86" y="74"/>
                  </a:lnTo>
                  <a:lnTo>
                    <a:pt x="86" y="76"/>
                  </a:lnTo>
                  <a:lnTo>
                    <a:pt x="75" y="76"/>
                  </a:lnTo>
                  <a:lnTo>
                    <a:pt x="67" y="80"/>
                  </a:lnTo>
                  <a:lnTo>
                    <a:pt x="67" y="71"/>
                  </a:lnTo>
                  <a:lnTo>
                    <a:pt x="71" y="65"/>
                  </a:lnTo>
                  <a:lnTo>
                    <a:pt x="67" y="59"/>
                  </a:lnTo>
                  <a:lnTo>
                    <a:pt x="65" y="50"/>
                  </a:lnTo>
                  <a:lnTo>
                    <a:pt x="58" y="43"/>
                  </a:lnTo>
                  <a:lnTo>
                    <a:pt x="56" y="108"/>
                  </a:lnTo>
                  <a:lnTo>
                    <a:pt x="49" y="108"/>
                  </a:lnTo>
                  <a:lnTo>
                    <a:pt x="41" y="115"/>
                  </a:lnTo>
                  <a:lnTo>
                    <a:pt x="41" y="117"/>
                  </a:lnTo>
                  <a:lnTo>
                    <a:pt x="34" y="115"/>
                  </a:lnTo>
                  <a:lnTo>
                    <a:pt x="26" y="115"/>
                  </a:lnTo>
                  <a:lnTo>
                    <a:pt x="21" y="115"/>
                  </a:lnTo>
                  <a:lnTo>
                    <a:pt x="11" y="110"/>
                  </a:lnTo>
                  <a:lnTo>
                    <a:pt x="11" y="102"/>
                  </a:lnTo>
                  <a:lnTo>
                    <a:pt x="6" y="102"/>
                  </a:lnTo>
                  <a:lnTo>
                    <a:pt x="2" y="108"/>
                  </a:lnTo>
                  <a:lnTo>
                    <a:pt x="0" y="110"/>
                  </a:lnTo>
                  <a:lnTo>
                    <a:pt x="2" y="121"/>
                  </a:lnTo>
                  <a:lnTo>
                    <a:pt x="11" y="141"/>
                  </a:lnTo>
                  <a:lnTo>
                    <a:pt x="26" y="164"/>
                  </a:lnTo>
                  <a:lnTo>
                    <a:pt x="26" y="175"/>
                  </a:lnTo>
                  <a:lnTo>
                    <a:pt x="26" y="184"/>
                  </a:lnTo>
                  <a:lnTo>
                    <a:pt x="19" y="184"/>
                  </a:lnTo>
                  <a:lnTo>
                    <a:pt x="19" y="188"/>
                  </a:lnTo>
                  <a:lnTo>
                    <a:pt x="26" y="203"/>
                  </a:lnTo>
                  <a:lnTo>
                    <a:pt x="26" y="214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34" y="214"/>
                  </a:lnTo>
                  <a:lnTo>
                    <a:pt x="37" y="214"/>
                  </a:lnTo>
                  <a:lnTo>
                    <a:pt x="41" y="220"/>
                  </a:lnTo>
                  <a:lnTo>
                    <a:pt x="52" y="225"/>
                  </a:lnTo>
                  <a:lnTo>
                    <a:pt x="56" y="218"/>
                  </a:lnTo>
                  <a:lnTo>
                    <a:pt x="58" y="214"/>
                  </a:lnTo>
                  <a:lnTo>
                    <a:pt x="73" y="214"/>
                  </a:lnTo>
                  <a:lnTo>
                    <a:pt x="86" y="214"/>
                  </a:lnTo>
                  <a:lnTo>
                    <a:pt x="86" y="210"/>
                  </a:lnTo>
                  <a:lnTo>
                    <a:pt x="101" y="210"/>
                  </a:lnTo>
                  <a:lnTo>
                    <a:pt x="110" y="210"/>
                  </a:lnTo>
                  <a:lnTo>
                    <a:pt x="129" y="214"/>
                  </a:lnTo>
                  <a:lnTo>
                    <a:pt x="131" y="210"/>
                  </a:lnTo>
                  <a:lnTo>
                    <a:pt x="140" y="210"/>
                  </a:lnTo>
                  <a:lnTo>
                    <a:pt x="144" y="205"/>
                  </a:lnTo>
                  <a:lnTo>
                    <a:pt x="157" y="205"/>
                  </a:lnTo>
                  <a:lnTo>
                    <a:pt x="188" y="184"/>
                  </a:lnTo>
                  <a:lnTo>
                    <a:pt x="205" y="171"/>
                  </a:lnTo>
                  <a:lnTo>
                    <a:pt x="220" y="156"/>
                  </a:lnTo>
                  <a:lnTo>
                    <a:pt x="220" y="151"/>
                  </a:lnTo>
                  <a:lnTo>
                    <a:pt x="231" y="138"/>
                  </a:lnTo>
                  <a:lnTo>
                    <a:pt x="231" y="134"/>
                  </a:lnTo>
                  <a:lnTo>
                    <a:pt x="252" y="115"/>
                  </a:lnTo>
                  <a:lnTo>
                    <a:pt x="259" y="100"/>
                  </a:lnTo>
                  <a:lnTo>
                    <a:pt x="265" y="84"/>
                  </a:lnTo>
                  <a:lnTo>
                    <a:pt x="259" y="84"/>
                  </a:lnTo>
                  <a:lnTo>
                    <a:pt x="252" y="80"/>
                  </a:lnTo>
                  <a:lnTo>
                    <a:pt x="252" y="87"/>
                  </a:lnTo>
                  <a:lnTo>
                    <a:pt x="239" y="87"/>
                  </a:lnTo>
                  <a:lnTo>
                    <a:pt x="231" y="74"/>
                  </a:lnTo>
                  <a:lnTo>
                    <a:pt x="239" y="65"/>
                  </a:lnTo>
                  <a:lnTo>
                    <a:pt x="252" y="65"/>
                  </a:lnTo>
                  <a:lnTo>
                    <a:pt x="252" y="61"/>
                  </a:lnTo>
                  <a:lnTo>
                    <a:pt x="252" y="50"/>
                  </a:lnTo>
                  <a:lnTo>
                    <a:pt x="252" y="37"/>
                  </a:lnTo>
                  <a:lnTo>
                    <a:pt x="246" y="22"/>
                  </a:lnTo>
                  <a:lnTo>
                    <a:pt x="250" y="15"/>
                  </a:lnTo>
                  <a:lnTo>
                    <a:pt x="246" y="13"/>
                  </a:lnTo>
                  <a:lnTo>
                    <a:pt x="244" y="5"/>
                  </a:lnTo>
                  <a:lnTo>
                    <a:pt x="239" y="0"/>
                  </a:lnTo>
                  <a:lnTo>
                    <a:pt x="231" y="5"/>
                  </a:lnTo>
                  <a:lnTo>
                    <a:pt x="222" y="0"/>
                  </a:lnTo>
                  <a:lnTo>
                    <a:pt x="211" y="0"/>
                  </a:lnTo>
                  <a:lnTo>
                    <a:pt x="205" y="0"/>
                  </a:lnTo>
                  <a:close/>
                </a:path>
              </a:pathLst>
            </a:custGeom>
            <a:grpFill/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2" name="Freeform 196"/>
            <p:cNvSpPr>
              <a:spLocks noChangeAspect="1"/>
            </p:cNvSpPr>
            <p:nvPr/>
          </p:nvSpPr>
          <p:spPr bwMode="auto">
            <a:xfrm>
              <a:off x="3082" y="3175"/>
              <a:ext cx="41" cy="40"/>
            </a:xfrm>
            <a:custGeom>
              <a:avLst/>
              <a:gdLst>
                <a:gd name="T0" fmla="*/ 340 w 37"/>
                <a:gd name="T1" fmla="*/ 46 h 39"/>
                <a:gd name="T2" fmla="*/ 171 w 37"/>
                <a:gd name="T3" fmla="*/ 48 h 39"/>
                <a:gd name="T4" fmla="*/ 148 w 37"/>
                <a:gd name="T5" fmla="*/ 59 h 39"/>
                <a:gd name="T6" fmla="*/ 68 w 37"/>
                <a:gd name="T7" fmla="*/ 55 h 39"/>
                <a:gd name="T8" fmla="*/ 3 w 37"/>
                <a:gd name="T9" fmla="*/ 44 h 39"/>
                <a:gd name="T10" fmla="*/ 0 w 37"/>
                <a:gd name="T11" fmla="*/ 40 h 39"/>
                <a:gd name="T12" fmla="*/ 3 w 37"/>
                <a:gd name="T13" fmla="*/ 15 h 39"/>
                <a:gd name="T14" fmla="*/ 83 w 37"/>
                <a:gd name="T15" fmla="*/ 7 h 39"/>
                <a:gd name="T16" fmla="*/ 250 w 37"/>
                <a:gd name="T17" fmla="*/ 0 h 39"/>
                <a:gd name="T18" fmla="*/ 305 w 37"/>
                <a:gd name="T19" fmla="*/ 5 h 39"/>
                <a:gd name="T20" fmla="*/ 350 w 37"/>
                <a:gd name="T21" fmla="*/ 13 h 39"/>
                <a:gd name="T22" fmla="*/ 340 w 37"/>
                <a:gd name="T23" fmla="*/ 40 h 39"/>
                <a:gd name="T24" fmla="*/ 340 w 37"/>
                <a:gd name="T25" fmla="*/ 46 h 3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9"/>
                <a:gd name="T41" fmla="*/ 37 w 37"/>
                <a:gd name="T42" fmla="*/ 39 h 3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9">
                  <a:moveTo>
                    <a:pt x="35" y="26"/>
                  </a:moveTo>
                  <a:lnTo>
                    <a:pt x="18" y="28"/>
                  </a:lnTo>
                  <a:lnTo>
                    <a:pt x="15" y="39"/>
                  </a:lnTo>
                  <a:lnTo>
                    <a:pt x="7" y="35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3" y="15"/>
                  </a:lnTo>
                  <a:lnTo>
                    <a:pt x="9" y="7"/>
                  </a:lnTo>
                  <a:lnTo>
                    <a:pt x="26" y="0"/>
                  </a:lnTo>
                  <a:lnTo>
                    <a:pt x="31" y="5"/>
                  </a:lnTo>
                  <a:lnTo>
                    <a:pt x="37" y="13"/>
                  </a:lnTo>
                  <a:lnTo>
                    <a:pt x="35" y="20"/>
                  </a:lnTo>
                  <a:lnTo>
                    <a:pt x="35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3" name="Freeform 197"/>
            <p:cNvSpPr>
              <a:spLocks noChangeAspect="1"/>
            </p:cNvSpPr>
            <p:nvPr/>
          </p:nvSpPr>
          <p:spPr bwMode="auto">
            <a:xfrm>
              <a:off x="3004" y="2313"/>
              <a:ext cx="295" cy="314"/>
            </a:xfrm>
            <a:custGeom>
              <a:avLst/>
              <a:gdLst>
                <a:gd name="T0" fmla="*/ 1861 w 268"/>
                <a:gd name="T1" fmla="*/ 2 h 309"/>
                <a:gd name="T2" fmla="*/ 1941 w 268"/>
                <a:gd name="T3" fmla="*/ 17 h 309"/>
                <a:gd name="T4" fmla="*/ 1975 w 268"/>
                <a:gd name="T5" fmla="*/ 74 h 309"/>
                <a:gd name="T6" fmla="*/ 2131 w 268"/>
                <a:gd name="T7" fmla="*/ 87 h 309"/>
                <a:gd name="T8" fmla="*/ 2131 w 268"/>
                <a:gd name="T9" fmla="*/ 107 h 309"/>
                <a:gd name="T10" fmla="*/ 2020 w 268"/>
                <a:gd name="T11" fmla="*/ 111 h 309"/>
                <a:gd name="T12" fmla="*/ 1970 w 268"/>
                <a:gd name="T13" fmla="*/ 115 h 309"/>
                <a:gd name="T14" fmla="*/ 1941 w 268"/>
                <a:gd name="T15" fmla="*/ 144 h 309"/>
                <a:gd name="T16" fmla="*/ 1861 w 268"/>
                <a:gd name="T17" fmla="*/ 200 h 309"/>
                <a:gd name="T18" fmla="*/ 1791 w 268"/>
                <a:gd name="T19" fmla="*/ 221 h 309"/>
                <a:gd name="T20" fmla="*/ 1718 w 268"/>
                <a:gd name="T21" fmla="*/ 255 h 309"/>
                <a:gd name="T22" fmla="*/ 1652 w 268"/>
                <a:gd name="T23" fmla="*/ 261 h 309"/>
                <a:gd name="T24" fmla="*/ 1626 w 268"/>
                <a:gd name="T25" fmla="*/ 275 h 309"/>
                <a:gd name="T26" fmla="*/ 1604 w 268"/>
                <a:gd name="T27" fmla="*/ 310 h 309"/>
                <a:gd name="T28" fmla="*/ 1441 w 268"/>
                <a:gd name="T29" fmla="*/ 316 h 309"/>
                <a:gd name="T30" fmla="*/ 1536 w 268"/>
                <a:gd name="T31" fmla="*/ 335 h 309"/>
                <a:gd name="T32" fmla="*/ 1718 w 268"/>
                <a:gd name="T33" fmla="*/ 362 h 309"/>
                <a:gd name="T34" fmla="*/ 1769 w 268"/>
                <a:gd name="T35" fmla="*/ 384 h 309"/>
                <a:gd name="T36" fmla="*/ 1818 w 268"/>
                <a:gd name="T37" fmla="*/ 398 h 309"/>
                <a:gd name="T38" fmla="*/ 1769 w 268"/>
                <a:gd name="T39" fmla="*/ 391 h 309"/>
                <a:gd name="T40" fmla="*/ 1626 w 268"/>
                <a:gd name="T41" fmla="*/ 404 h 309"/>
                <a:gd name="T42" fmla="*/ 1518 w 268"/>
                <a:gd name="T43" fmla="*/ 418 h 309"/>
                <a:gd name="T44" fmla="*/ 1343 w 268"/>
                <a:gd name="T45" fmla="*/ 418 h 309"/>
                <a:gd name="T46" fmla="*/ 1282 w 268"/>
                <a:gd name="T47" fmla="*/ 418 h 309"/>
                <a:gd name="T48" fmla="*/ 1165 w 268"/>
                <a:gd name="T49" fmla="*/ 418 h 309"/>
                <a:gd name="T50" fmla="*/ 1005 w 268"/>
                <a:gd name="T51" fmla="*/ 398 h 309"/>
                <a:gd name="T52" fmla="*/ 981 w 268"/>
                <a:gd name="T53" fmla="*/ 404 h 309"/>
                <a:gd name="T54" fmla="*/ 891 w 268"/>
                <a:gd name="T55" fmla="*/ 398 h 309"/>
                <a:gd name="T56" fmla="*/ 873 w 268"/>
                <a:gd name="T57" fmla="*/ 407 h 309"/>
                <a:gd name="T58" fmla="*/ 755 w 268"/>
                <a:gd name="T59" fmla="*/ 398 h 309"/>
                <a:gd name="T60" fmla="*/ 704 w 268"/>
                <a:gd name="T61" fmla="*/ 389 h 309"/>
                <a:gd name="T62" fmla="*/ 607 w 268"/>
                <a:gd name="T63" fmla="*/ 366 h 309"/>
                <a:gd name="T64" fmla="*/ 564 w 268"/>
                <a:gd name="T65" fmla="*/ 347 h 309"/>
                <a:gd name="T66" fmla="*/ 514 w 268"/>
                <a:gd name="T67" fmla="*/ 340 h 309"/>
                <a:gd name="T68" fmla="*/ 413 w 268"/>
                <a:gd name="T69" fmla="*/ 324 h 309"/>
                <a:gd name="T70" fmla="*/ 289 w 268"/>
                <a:gd name="T71" fmla="*/ 316 h 309"/>
                <a:gd name="T72" fmla="*/ 200 w 268"/>
                <a:gd name="T73" fmla="*/ 307 h 309"/>
                <a:gd name="T74" fmla="*/ 193 w 268"/>
                <a:gd name="T75" fmla="*/ 299 h 309"/>
                <a:gd name="T76" fmla="*/ 200 w 268"/>
                <a:gd name="T77" fmla="*/ 287 h 309"/>
                <a:gd name="T78" fmla="*/ 119 w 268"/>
                <a:gd name="T79" fmla="*/ 261 h 309"/>
                <a:gd name="T80" fmla="*/ 119 w 268"/>
                <a:gd name="T81" fmla="*/ 246 h 309"/>
                <a:gd name="T82" fmla="*/ 61 w 268"/>
                <a:gd name="T83" fmla="*/ 231 h 309"/>
                <a:gd name="T84" fmla="*/ 61 w 268"/>
                <a:gd name="T85" fmla="*/ 221 h 309"/>
                <a:gd name="T86" fmla="*/ 0 w 268"/>
                <a:gd name="T87" fmla="*/ 221 h 309"/>
                <a:gd name="T88" fmla="*/ 61 w 268"/>
                <a:gd name="T89" fmla="*/ 200 h 309"/>
                <a:gd name="T90" fmla="*/ 61 w 268"/>
                <a:gd name="T91" fmla="*/ 177 h 309"/>
                <a:gd name="T92" fmla="*/ 61 w 268"/>
                <a:gd name="T93" fmla="*/ 164 h 309"/>
                <a:gd name="T94" fmla="*/ 89 w 268"/>
                <a:gd name="T95" fmla="*/ 150 h 309"/>
                <a:gd name="T96" fmla="*/ 239 w 268"/>
                <a:gd name="T97" fmla="*/ 144 h 309"/>
                <a:gd name="T98" fmla="*/ 239 w 268"/>
                <a:gd name="T99" fmla="*/ 57 h 309"/>
                <a:gd name="T100" fmla="*/ 356 w 268"/>
                <a:gd name="T101" fmla="*/ 0 h 30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8"/>
                <a:gd name="T154" fmla="*/ 0 h 309"/>
                <a:gd name="T155" fmla="*/ 268 w 268"/>
                <a:gd name="T156" fmla="*/ 309 h 30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8" h="309">
                  <a:moveTo>
                    <a:pt x="45" y="0"/>
                  </a:moveTo>
                  <a:lnTo>
                    <a:pt x="233" y="2"/>
                  </a:lnTo>
                  <a:lnTo>
                    <a:pt x="238" y="11"/>
                  </a:lnTo>
                  <a:lnTo>
                    <a:pt x="242" y="17"/>
                  </a:lnTo>
                  <a:lnTo>
                    <a:pt x="240" y="17"/>
                  </a:lnTo>
                  <a:lnTo>
                    <a:pt x="248" y="54"/>
                  </a:lnTo>
                  <a:lnTo>
                    <a:pt x="257" y="60"/>
                  </a:lnTo>
                  <a:lnTo>
                    <a:pt x="266" y="67"/>
                  </a:lnTo>
                  <a:lnTo>
                    <a:pt x="268" y="69"/>
                  </a:lnTo>
                  <a:lnTo>
                    <a:pt x="266" y="80"/>
                  </a:lnTo>
                  <a:lnTo>
                    <a:pt x="257" y="76"/>
                  </a:lnTo>
                  <a:lnTo>
                    <a:pt x="253" y="82"/>
                  </a:lnTo>
                  <a:lnTo>
                    <a:pt x="253" y="84"/>
                  </a:lnTo>
                  <a:lnTo>
                    <a:pt x="246" y="84"/>
                  </a:lnTo>
                  <a:lnTo>
                    <a:pt x="242" y="95"/>
                  </a:lnTo>
                  <a:lnTo>
                    <a:pt x="242" y="104"/>
                  </a:lnTo>
                  <a:lnTo>
                    <a:pt x="238" y="125"/>
                  </a:lnTo>
                  <a:lnTo>
                    <a:pt x="233" y="145"/>
                  </a:lnTo>
                  <a:lnTo>
                    <a:pt x="231" y="155"/>
                  </a:lnTo>
                  <a:lnTo>
                    <a:pt x="225" y="160"/>
                  </a:lnTo>
                  <a:lnTo>
                    <a:pt x="218" y="171"/>
                  </a:lnTo>
                  <a:lnTo>
                    <a:pt x="216" y="186"/>
                  </a:lnTo>
                  <a:lnTo>
                    <a:pt x="212" y="190"/>
                  </a:lnTo>
                  <a:lnTo>
                    <a:pt x="207" y="190"/>
                  </a:lnTo>
                  <a:lnTo>
                    <a:pt x="203" y="194"/>
                  </a:lnTo>
                  <a:lnTo>
                    <a:pt x="203" y="201"/>
                  </a:lnTo>
                  <a:lnTo>
                    <a:pt x="201" y="207"/>
                  </a:lnTo>
                  <a:lnTo>
                    <a:pt x="201" y="224"/>
                  </a:lnTo>
                  <a:lnTo>
                    <a:pt x="192" y="229"/>
                  </a:lnTo>
                  <a:lnTo>
                    <a:pt x="181" y="229"/>
                  </a:lnTo>
                  <a:lnTo>
                    <a:pt x="181" y="237"/>
                  </a:lnTo>
                  <a:lnTo>
                    <a:pt x="192" y="244"/>
                  </a:lnTo>
                  <a:lnTo>
                    <a:pt x="203" y="253"/>
                  </a:lnTo>
                  <a:lnTo>
                    <a:pt x="216" y="263"/>
                  </a:lnTo>
                  <a:lnTo>
                    <a:pt x="218" y="270"/>
                  </a:lnTo>
                  <a:lnTo>
                    <a:pt x="222" y="278"/>
                  </a:lnTo>
                  <a:lnTo>
                    <a:pt x="227" y="278"/>
                  </a:lnTo>
                  <a:lnTo>
                    <a:pt x="227" y="289"/>
                  </a:lnTo>
                  <a:lnTo>
                    <a:pt x="225" y="289"/>
                  </a:lnTo>
                  <a:lnTo>
                    <a:pt x="222" y="283"/>
                  </a:lnTo>
                  <a:lnTo>
                    <a:pt x="212" y="289"/>
                  </a:lnTo>
                  <a:lnTo>
                    <a:pt x="203" y="294"/>
                  </a:lnTo>
                  <a:lnTo>
                    <a:pt x="201" y="298"/>
                  </a:lnTo>
                  <a:lnTo>
                    <a:pt x="190" y="304"/>
                  </a:lnTo>
                  <a:lnTo>
                    <a:pt x="177" y="304"/>
                  </a:lnTo>
                  <a:lnTo>
                    <a:pt x="168" y="304"/>
                  </a:lnTo>
                  <a:lnTo>
                    <a:pt x="166" y="309"/>
                  </a:lnTo>
                  <a:lnTo>
                    <a:pt x="160" y="304"/>
                  </a:lnTo>
                  <a:lnTo>
                    <a:pt x="147" y="302"/>
                  </a:lnTo>
                  <a:lnTo>
                    <a:pt x="145" y="304"/>
                  </a:lnTo>
                  <a:lnTo>
                    <a:pt x="132" y="296"/>
                  </a:lnTo>
                  <a:lnTo>
                    <a:pt x="125" y="289"/>
                  </a:lnTo>
                  <a:lnTo>
                    <a:pt x="123" y="289"/>
                  </a:lnTo>
                  <a:lnTo>
                    <a:pt x="123" y="294"/>
                  </a:lnTo>
                  <a:lnTo>
                    <a:pt x="112" y="294"/>
                  </a:lnTo>
                  <a:lnTo>
                    <a:pt x="112" y="289"/>
                  </a:lnTo>
                  <a:lnTo>
                    <a:pt x="110" y="294"/>
                  </a:lnTo>
                  <a:lnTo>
                    <a:pt x="108" y="296"/>
                  </a:lnTo>
                  <a:lnTo>
                    <a:pt x="102" y="294"/>
                  </a:lnTo>
                  <a:lnTo>
                    <a:pt x="95" y="289"/>
                  </a:lnTo>
                  <a:lnTo>
                    <a:pt x="95" y="283"/>
                  </a:lnTo>
                  <a:lnTo>
                    <a:pt x="89" y="281"/>
                  </a:lnTo>
                  <a:lnTo>
                    <a:pt x="86" y="270"/>
                  </a:lnTo>
                  <a:lnTo>
                    <a:pt x="76" y="266"/>
                  </a:lnTo>
                  <a:lnTo>
                    <a:pt x="71" y="255"/>
                  </a:lnTo>
                  <a:lnTo>
                    <a:pt x="71" y="253"/>
                  </a:lnTo>
                  <a:lnTo>
                    <a:pt x="67" y="253"/>
                  </a:lnTo>
                  <a:lnTo>
                    <a:pt x="65" y="248"/>
                  </a:lnTo>
                  <a:lnTo>
                    <a:pt x="56" y="248"/>
                  </a:lnTo>
                  <a:lnTo>
                    <a:pt x="52" y="235"/>
                  </a:lnTo>
                  <a:lnTo>
                    <a:pt x="45" y="229"/>
                  </a:lnTo>
                  <a:lnTo>
                    <a:pt x="37" y="229"/>
                  </a:lnTo>
                  <a:lnTo>
                    <a:pt x="37" y="222"/>
                  </a:lnTo>
                  <a:lnTo>
                    <a:pt x="26" y="222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2" y="214"/>
                  </a:lnTo>
                  <a:lnTo>
                    <a:pt x="26" y="209"/>
                  </a:lnTo>
                  <a:lnTo>
                    <a:pt x="24" y="201"/>
                  </a:lnTo>
                  <a:lnTo>
                    <a:pt x="15" y="190"/>
                  </a:lnTo>
                  <a:lnTo>
                    <a:pt x="11" y="186"/>
                  </a:lnTo>
                  <a:lnTo>
                    <a:pt x="15" y="179"/>
                  </a:lnTo>
                  <a:lnTo>
                    <a:pt x="7" y="175"/>
                  </a:lnTo>
                  <a:lnTo>
                    <a:pt x="7" y="168"/>
                  </a:lnTo>
                  <a:lnTo>
                    <a:pt x="7" y="160"/>
                  </a:lnTo>
                  <a:lnTo>
                    <a:pt x="2" y="155"/>
                  </a:lnTo>
                  <a:lnTo>
                    <a:pt x="0" y="160"/>
                  </a:lnTo>
                  <a:lnTo>
                    <a:pt x="0" y="151"/>
                  </a:lnTo>
                  <a:lnTo>
                    <a:pt x="7" y="145"/>
                  </a:lnTo>
                  <a:lnTo>
                    <a:pt x="2" y="136"/>
                  </a:lnTo>
                  <a:lnTo>
                    <a:pt x="7" y="130"/>
                  </a:lnTo>
                  <a:lnTo>
                    <a:pt x="7" y="125"/>
                  </a:lnTo>
                  <a:lnTo>
                    <a:pt x="7" y="121"/>
                  </a:lnTo>
                  <a:lnTo>
                    <a:pt x="15" y="112"/>
                  </a:lnTo>
                  <a:lnTo>
                    <a:pt x="11" y="110"/>
                  </a:lnTo>
                  <a:lnTo>
                    <a:pt x="17" y="106"/>
                  </a:lnTo>
                  <a:lnTo>
                    <a:pt x="30" y="104"/>
                  </a:lnTo>
                  <a:lnTo>
                    <a:pt x="30" y="41"/>
                  </a:lnTo>
                  <a:lnTo>
                    <a:pt x="30" y="37"/>
                  </a:lnTo>
                  <a:lnTo>
                    <a:pt x="45" y="37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4" name="Freeform 198"/>
            <p:cNvSpPr>
              <a:spLocks noChangeAspect="1"/>
            </p:cNvSpPr>
            <p:nvPr/>
          </p:nvSpPr>
          <p:spPr bwMode="auto">
            <a:xfrm>
              <a:off x="3150" y="3130"/>
              <a:ext cx="28" cy="22"/>
            </a:xfrm>
            <a:custGeom>
              <a:avLst/>
              <a:gdLst>
                <a:gd name="T0" fmla="*/ 109 w 26"/>
                <a:gd name="T1" fmla="*/ 0 h 22"/>
                <a:gd name="T2" fmla="*/ 130 w 26"/>
                <a:gd name="T3" fmla="*/ 6 h 22"/>
                <a:gd name="T4" fmla="*/ 109 w 26"/>
                <a:gd name="T5" fmla="*/ 15 h 22"/>
                <a:gd name="T6" fmla="*/ 109 w 26"/>
                <a:gd name="T7" fmla="*/ 22 h 22"/>
                <a:gd name="T8" fmla="*/ 54 w 26"/>
                <a:gd name="T9" fmla="*/ 22 h 22"/>
                <a:gd name="T10" fmla="*/ 0 w 26"/>
                <a:gd name="T11" fmla="*/ 9 h 22"/>
                <a:gd name="T12" fmla="*/ 54 w 26"/>
                <a:gd name="T13" fmla="*/ 0 h 22"/>
                <a:gd name="T14" fmla="*/ 109 w 26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22"/>
                <a:gd name="T26" fmla="*/ 26 w 26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22">
                  <a:moveTo>
                    <a:pt x="21" y="0"/>
                  </a:moveTo>
                  <a:lnTo>
                    <a:pt x="26" y="6"/>
                  </a:lnTo>
                  <a:lnTo>
                    <a:pt x="21" y="15"/>
                  </a:lnTo>
                  <a:lnTo>
                    <a:pt x="21" y="22"/>
                  </a:lnTo>
                  <a:lnTo>
                    <a:pt x="11" y="22"/>
                  </a:lnTo>
                  <a:lnTo>
                    <a:pt x="0" y="9"/>
                  </a:lnTo>
                  <a:lnTo>
                    <a:pt x="1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5" name="Freeform 199"/>
            <p:cNvSpPr>
              <a:spLocks noChangeAspect="1"/>
            </p:cNvSpPr>
            <p:nvPr/>
          </p:nvSpPr>
          <p:spPr bwMode="auto">
            <a:xfrm>
              <a:off x="3137" y="2701"/>
              <a:ext cx="195" cy="180"/>
            </a:xfrm>
            <a:custGeom>
              <a:avLst/>
              <a:gdLst>
                <a:gd name="T0" fmla="*/ 207 w 177"/>
                <a:gd name="T1" fmla="*/ 0 h 177"/>
                <a:gd name="T2" fmla="*/ 618 w 177"/>
                <a:gd name="T3" fmla="*/ 0 h 177"/>
                <a:gd name="T4" fmla="*/ 1131 w 177"/>
                <a:gd name="T5" fmla="*/ 57 h 177"/>
                <a:gd name="T6" fmla="*/ 1312 w 177"/>
                <a:gd name="T7" fmla="*/ 85 h 177"/>
                <a:gd name="T8" fmla="*/ 1246 w 177"/>
                <a:gd name="T9" fmla="*/ 129 h 177"/>
                <a:gd name="T10" fmla="*/ 1312 w 177"/>
                <a:gd name="T11" fmla="*/ 137 h 177"/>
                <a:gd name="T12" fmla="*/ 1342 w 177"/>
                <a:gd name="T13" fmla="*/ 146 h 177"/>
                <a:gd name="T14" fmla="*/ 1342 w 177"/>
                <a:gd name="T15" fmla="*/ 161 h 177"/>
                <a:gd name="T16" fmla="*/ 1342 w 177"/>
                <a:gd name="T17" fmla="*/ 190 h 177"/>
                <a:gd name="T18" fmla="*/ 1420 w 177"/>
                <a:gd name="T19" fmla="*/ 212 h 177"/>
                <a:gd name="T20" fmla="*/ 1424 w 177"/>
                <a:gd name="T21" fmla="*/ 224 h 177"/>
                <a:gd name="T22" fmla="*/ 1293 w 177"/>
                <a:gd name="T23" fmla="*/ 235 h 177"/>
                <a:gd name="T24" fmla="*/ 1170 w 177"/>
                <a:gd name="T25" fmla="*/ 244 h 177"/>
                <a:gd name="T26" fmla="*/ 1131 w 177"/>
                <a:gd name="T27" fmla="*/ 239 h 177"/>
                <a:gd name="T28" fmla="*/ 1039 w 177"/>
                <a:gd name="T29" fmla="*/ 247 h 177"/>
                <a:gd name="T30" fmla="*/ 962 w 177"/>
                <a:gd name="T31" fmla="*/ 247 h 177"/>
                <a:gd name="T32" fmla="*/ 856 w 177"/>
                <a:gd name="T33" fmla="*/ 244 h 177"/>
                <a:gd name="T34" fmla="*/ 768 w 177"/>
                <a:gd name="T35" fmla="*/ 244 h 177"/>
                <a:gd name="T36" fmla="*/ 640 w 177"/>
                <a:gd name="T37" fmla="*/ 244 h 177"/>
                <a:gd name="T38" fmla="*/ 568 w 177"/>
                <a:gd name="T39" fmla="*/ 203 h 177"/>
                <a:gd name="T40" fmla="*/ 451 w 177"/>
                <a:gd name="T41" fmla="*/ 190 h 177"/>
                <a:gd name="T42" fmla="*/ 408 w 177"/>
                <a:gd name="T43" fmla="*/ 187 h 177"/>
                <a:gd name="T44" fmla="*/ 315 w 177"/>
                <a:gd name="T45" fmla="*/ 184 h 177"/>
                <a:gd name="T46" fmla="*/ 221 w 177"/>
                <a:gd name="T47" fmla="*/ 181 h 177"/>
                <a:gd name="T48" fmla="*/ 120 w 177"/>
                <a:gd name="T49" fmla="*/ 146 h 177"/>
                <a:gd name="T50" fmla="*/ 0 w 177"/>
                <a:gd name="T51" fmla="*/ 123 h 177"/>
                <a:gd name="T52" fmla="*/ 0 w 177"/>
                <a:gd name="T53" fmla="*/ 85 h 177"/>
                <a:gd name="T54" fmla="*/ 74 w 177"/>
                <a:gd name="T55" fmla="*/ 76 h 177"/>
                <a:gd name="T56" fmla="*/ 207 w 177"/>
                <a:gd name="T57" fmla="*/ 61 h 177"/>
                <a:gd name="T58" fmla="*/ 160 w 177"/>
                <a:gd name="T59" fmla="*/ 50 h 177"/>
                <a:gd name="T60" fmla="*/ 194 w 177"/>
                <a:gd name="T61" fmla="*/ 26 h 177"/>
                <a:gd name="T62" fmla="*/ 194 w 177"/>
                <a:gd name="T63" fmla="*/ 11 h 17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77"/>
                <a:gd name="T97" fmla="*/ 0 h 177"/>
                <a:gd name="T98" fmla="*/ 177 w 177"/>
                <a:gd name="T99" fmla="*/ 177 h 17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77" h="177">
                  <a:moveTo>
                    <a:pt x="19" y="2"/>
                  </a:moveTo>
                  <a:lnTo>
                    <a:pt x="26" y="0"/>
                  </a:lnTo>
                  <a:lnTo>
                    <a:pt x="50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140" y="37"/>
                  </a:lnTo>
                  <a:lnTo>
                    <a:pt x="140" y="45"/>
                  </a:lnTo>
                  <a:lnTo>
                    <a:pt x="162" y="65"/>
                  </a:lnTo>
                  <a:lnTo>
                    <a:pt x="155" y="76"/>
                  </a:lnTo>
                  <a:lnTo>
                    <a:pt x="155" y="89"/>
                  </a:lnTo>
                  <a:lnTo>
                    <a:pt x="160" y="95"/>
                  </a:lnTo>
                  <a:lnTo>
                    <a:pt x="162" y="97"/>
                  </a:lnTo>
                  <a:lnTo>
                    <a:pt x="166" y="102"/>
                  </a:lnTo>
                  <a:lnTo>
                    <a:pt x="166" y="106"/>
                  </a:lnTo>
                  <a:lnTo>
                    <a:pt x="162" y="106"/>
                  </a:lnTo>
                  <a:lnTo>
                    <a:pt x="166" y="117"/>
                  </a:lnTo>
                  <a:lnTo>
                    <a:pt x="162" y="125"/>
                  </a:lnTo>
                  <a:lnTo>
                    <a:pt x="166" y="136"/>
                  </a:lnTo>
                  <a:lnTo>
                    <a:pt x="166" y="149"/>
                  </a:lnTo>
                  <a:lnTo>
                    <a:pt x="175" y="151"/>
                  </a:lnTo>
                  <a:lnTo>
                    <a:pt x="177" y="155"/>
                  </a:lnTo>
                  <a:lnTo>
                    <a:pt x="177" y="160"/>
                  </a:lnTo>
                  <a:lnTo>
                    <a:pt x="170" y="166"/>
                  </a:lnTo>
                  <a:lnTo>
                    <a:pt x="160" y="168"/>
                  </a:lnTo>
                  <a:lnTo>
                    <a:pt x="151" y="171"/>
                  </a:lnTo>
                  <a:lnTo>
                    <a:pt x="145" y="175"/>
                  </a:lnTo>
                  <a:lnTo>
                    <a:pt x="145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29" y="177"/>
                  </a:lnTo>
                  <a:lnTo>
                    <a:pt x="121" y="177"/>
                  </a:lnTo>
                  <a:lnTo>
                    <a:pt x="119" y="177"/>
                  </a:lnTo>
                  <a:lnTo>
                    <a:pt x="112" y="177"/>
                  </a:lnTo>
                  <a:lnTo>
                    <a:pt x="106" y="175"/>
                  </a:lnTo>
                  <a:lnTo>
                    <a:pt x="99" y="177"/>
                  </a:lnTo>
                  <a:lnTo>
                    <a:pt x="95" y="175"/>
                  </a:lnTo>
                  <a:lnTo>
                    <a:pt x="84" y="177"/>
                  </a:lnTo>
                  <a:lnTo>
                    <a:pt x="80" y="175"/>
                  </a:lnTo>
                  <a:lnTo>
                    <a:pt x="80" y="166"/>
                  </a:lnTo>
                  <a:lnTo>
                    <a:pt x="71" y="145"/>
                  </a:lnTo>
                  <a:lnTo>
                    <a:pt x="65" y="140"/>
                  </a:lnTo>
                  <a:lnTo>
                    <a:pt x="56" y="136"/>
                  </a:lnTo>
                  <a:lnTo>
                    <a:pt x="54" y="136"/>
                  </a:lnTo>
                  <a:lnTo>
                    <a:pt x="50" y="134"/>
                  </a:lnTo>
                  <a:lnTo>
                    <a:pt x="43" y="134"/>
                  </a:lnTo>
                  <a:lnTo>
                    <a:pt x="39" y="132"/>
                  </a:lnTo>
                  <a:lnTo>
                    <a:pt x="35" y="130"/>
                  </a:lnTo>
                  <a:lnTo>
                    <a:pt x="28" y="130"/>
                  </a:lnTo>
                  <a:lnTo>
                    <a:pt x="24" y="121"/>
                  </a:lnTo>
                  <a:lnTo>
                    <a:pt x="15" y="106"/>
                  </a:lnTo>
                  <a:lnTo>
                    <a:pt x="6" y="95"/>
                  </a:lnTo>
                  <a:lnTo>
                    <a:pt x="0" y="86"/>
                  </a:lnTo>
                  <a:lnTo>
                    <a:pt x="0" y="71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9" y="56"/>
                  </a:lnTo>
                  <a:lnTo>
                    <a:pt x="19" y="45"/>
                  </a:lnTo>
                  <a:lnTo>
                    <a:pt x="26" y="41"/>
                  </a:lnTo>
                  <a:lnTo>
                    <a:pt x="26" y="32"/>
                  </a:lnTo>
                  <a:lnTo>
                    <a:pt x="19" y="30"/>
                  </a:lnTo>
                  <a:lnTo>
                    <a:pt x="19" y="26"/>
                  </a:lnTo>
                  <a:lnTo>
                    <a:pt x="24" y="26"/>
                  </a:lnTo>
                  <a:lnTo>
                    <a:pt x="24" y="22"/>
                  </a:lnTo>
                  <a:lnTo>
                    <a:pt x="24" y="11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6" name="Freeform 200"/>
            <p:cNvSpPr>
              <a:spLocks noChangeAspect="1"/>
            </p:cNvSpPr>
            <p:nvPr/>
          </p:nvSpPr>
          <p:spPr bwMode="auto">
            <a:xfrm>
              <a:off x="2608" y="2502"/>
              <a:ext cx="30" cy="81"/>
            </a:xfrm>
            <a:custGeom>
              <a:avLst/>
              <a:gdLst>
                <a:gd name="T0" fmla="*/ 4 w 28"/>
                <a:gd name="T1" fmla="*/ 0 h 80"/>
                <a:gd name="T2" fmla="*/ 6 w 28"/>
                <a:gd name="T3" fmla="*/ 0 h 80"/>
                <a:gd name="T4" fmla="*/ 58 w 28"/>
                <a:gd name="T5" fmla="*/ 0 h 80"/>
                <a:gd name="T6" fmla="*/ 76 w 28"/>
                <a:gd name="T7" fmla="*/ 8 h 80"/>
                <a:gd name="T8" fmla="*/ 100 w 28"/>
                <a:gd name="T9" fmla="*/ 15 h 80"/>
                <a:gd name="T10" fmla="*/ 107 w 28"/>
                <a:gd name="T11" fmla="*/ 21 h 80"/>
                <a:gd name="T12" fmla="*/ 125 w 28"/>
                <a:gd name="T13" fmla="*/ 28 h 80"/>
                <a:gd name="T14" fmla="*/ 125 w 28"/>
                <a:gd name="T15" fmla="*/ 89 h 80"/>
                <a:gd name="T16" fmla="*/ 125 w 28"/>
                <a:gd name="T17" fmla="*/ 89 h 80"/>
                <a:gd name="T18" fmla="*/ 125 w 28"/>
                <a:gd name="T19" fmla="*/ 97 h 80"/>
                <a:gd name="T20" fmla="*/ 107 w 28"/>
                <a:gd name="T21" fmla="*/ 97 h 80"/>
                <a:gd name="T22" fmla="*/ 87 w 28"/>
                <a:gd name="T23" fmla="*/ 100 h 80"/>
                <a:gd name="T24" fmla="*/ 58 w 28"/>
                <a:gd name="T25" fmla="*/ 93 h 80"/>
                <a:gd name="T26" fmla="*/ 41 w 28"/>
                <a:gd name="T27" fmla="*/ 82 h 80"/>
                <a:gd name="T28" fmla="*/ 41 w 28"/>
                <a:gd name="T29" fmla="*/ 74 h 80"/>
                <a:gd name="T30" fmla="*/ 41 w 28"/>
                <a:gd name="T31" fmla="*/ 65 h 80"/>
                <a:gd name="T32" fmla="*/ 58 w 28"/>
                <a:gd name="T33" fmla="*/ 38 h 80"/>
                <a:gd name="T34" fmla="*/ 41 w 28"/>
                <a:gd name="T35" fmla="*/ 34 h 80"/>
                <a:gd name="T36" fmla="*/ 41 w 28"/>
                <a:gd name="T37" fmla="*/ 30 h 80"/>
                <a:gd name="T38" fmla="*/ 41 w 28"/>
                <a:gd name="T39" fmla="*/ 23 h 80"/>
                <a:gd name="T40" fmla="*/ 4 w 28"/>
                <a:gd name="T41" fmla="*/ 21 h 80"/>
                <a:gd name="T42" fmla="*/ 6 w 28"/>
                <a:gd name="T43" fmla="*/ 15 h 80"/>
                <a:gd name="T44" fmla="*/ 6 w 28"/>
                <a:gd name="T45" fmla="*/ 8 h 80"/>
                <a:gd name="T46" fmla="*/ 0 w 28"/>
                <a:gd name="T47" fmla="*/ 4 h 80"/>
                <a:gd name="T48" fmla="*/ 4 w 28"/>
                <a:gd name="T49" fmla="*/ 0 h 8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8"/>
                <a:gd name="T76" fmla="*/ 0 h 80"/>
                <a:gd name="T77" fmla="*/ 28 w 28"/>
                <a:gd name="T78" fmla="*/ 80 h 8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8" h="80">
                  <a:moveTo>
                    <a:pt x="4" y="0"/>
                  </a:moveTo>
                  <a:lnTo>
                    <a:pt x="6" y="0"/>
                  </a:lnTo>
                  <a:lnTo>
                    <a:pt x="13" y="0"/>
                  </a:lnTo>
                  <a:lnTo>
                    <a:pt x="17" y="8"/>
                  </a:lnTo>
                  <a:lnTo>
                    <a:pt x="21" y="15"/>
                  </a:lnTo>
                  <a:lnTo>
                    <a:pt x="23" y="21"/>
                  </a:lnTo>
                  <a:lnTo>
                    <a:pt x="28" y="28"/>
                  </a:lnTo>
                  <a:lnTo>
                    <a:pt x="28" y="69"/>
                  </a:lnTo>
                  <a:lnTo>
                    <a:pt x="28" y="77"/>
                  </a:lnTo>
                  <a:lnTo>
                    <a:pt x="23" y="77"/>
                  </a:lnTo>
                  <a:lnTo>
                    <a:pt x="19" y="80"/>
                  </a:lnTo>
                  <a:lnTo>
                    <a:pt x="13" y="73"/>
                  </a:lnTo>
                  <a:lnTo>
                    <a:pt x="8" y="62"/>
                  </a:lnTo>
                  <a:lnTo>
                    <a:pt x="8" y="54"/>
                  </a:lnTo>
                  <a:lnTo>
                    <a:pt x="8" y="45"/>
                  </a:lnTo>
                  <a:lnTo>
                    <a:pt x="13" y="38"/>
                  </a:lnTo>
                  <a:lnTo>
                    <a:pt x="8" y="34"/>
                  </a:lnTo>
                  <a:lnTo>
                    <a:pt x="8" y="30"/>
                  </a:lnTo>
                  <a:lnTo>
                    <a:pt x="8" y="23"/>
                  </a:lnTo>
                  <a:lnTo>
                    <a:pt x="4" y="21"/>
                  </a:lnTo>
                  <a:lnTo>
                    <a:pt x="6" y="15"/>
                  </a:lnTo>
                  <a:lnTo>
                    <a:pt x="6" y="8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7" name="Freeform 201"/>
            <p:cNvSpPr>
              <a:spLocks noChangeAspect="1"/>
            </p:cNvSpPr>
            <p:nvPr/>
          </p:nvSpPr>
          <p:spPr bwMode="auto">
            <a:xfrm>
              <a:off x="2852" y="2288"/>
              <a:ext cx="185" cy="273"/>
            </a:xfrm>
            <a:custGeom>
              <a:avLst/>
              <a:gdLst>
                <a:gd name="T0" fmla="*/ 314 w 168"/>
                <a:gd name="T1" fmla="*/ 0 h 268"/>
                <a:gd name="T2" fmla="*/ 1351 w 168"/>
                <a:gd name="T3" fmla="*/ 185 h 268"/>
                <a:gd name="T4" fmla="*/ 1190 w 168"/>
                <a:gd name="T5" fmla="*/ 192 h 268"/>
                <a:gd name="T6" fmla="*/ 1169 w 168"/>
                <a:gd name="T7" fmla="*/ 210 h 268"/>
                <a:gd name="T8" fmla="*/ 1169 w 168"/>
                <a:gd name="T9" fmla="*/ 222 h 268"/>
                <a:gd name="T10" fmla="*/ 1157 w 168"/>
                <a:gd name="T11" fmla="*/ 242 h 268"/>
                <a:gd name="T12" fmla="*/ 1114 w 168"/>
                <a:gd name="T13" fmla="*/ 264 h 268"/>
                <a:gd name="T14" fmla="*/ 1157 w 168"/>
                <a:gd name="T15" fmla="*/ 264 h 268"/>
                <a:gd name="T16" fmla="*/ 1169 w 168"/>
                <a:gd name="T17" fmla="*/ 279 h 268"/>
                <a:gd name="T18" fmla="*/ 1233 w 168"/>
                <a:gd name="T19" fmla="*/ 293 h 268"/>
                <a:gd name="T20" fmla="*/ 1157 w 168"/>
                <a:gd name="T21" fmla="*/ 303 h 268"/>
                <a:gd name="T22" fmla="*/ 1051 w 168"/>
                <a:gd name="T23" fmla="*/ 322 h 268"/>
                <a:gd name="T24" fmla="*/ 964 w 168"/>
                <a:gd name="T25" fmla="*/ 334 h 268"/>
                <a:gd name="T26" fmla="*/ 880 w 168"/>
                <a:gd name="T27" fmla="*/ 345 h 268"/>
                <a:gd name="T28" fmla="*/ 704 w 168"/>
                <a:gd name="T29" fmla="*/ 351 h 268"/>
                <a:gd name="T30" fmla="*/ 704 w 168"/>
                <a:gd name="T31" fmla="*/ 366 h 268"/>
                <a:gd name="T32" fmla="*/ 618 w 168"/>
                <a:gd name="T33" fmla="*/ 370 h 268"/>
                <a:gd name="T34" fmla="*/ 523 w 168"/>
                <a:gd name="T35" fmla="*/ 370 h 268"/>
                <a:gd name="T36" fmla="*/ 420 w 168"/>
                <a:gd name="T37" fmla="*/ 378 h 268"/>
                <a:gd name="T38" fmla="*/ 314 w 168"/>
                <a:gd name="T39" fmla="*/ 381 h 268"/>
                <a:gd name="T40" fmla="*/ 285 w 168"/>
                <a:gd name="T41" fmla="*/ 378 h 268"/>
                <a:gd name="T42" fmla="*/ 206 w 168"/>
                <a:gd name="T43" fmla="*/ 357 h 268"/>
                <a:gd name="T44" fmla="*/ 74 w 168"/>
                <a:gd name="T45" fmla="*/ 334 h 268"/>
                <a:gd name="T46" fmla="*/ 159 w 168"/>
                <a:gd name="T47" fmla="*/ 325 h 268"/>
                <a:gd name="T48" fmla="*/ 206 w 168"/>
                <a:gd name="T49" fmla="*/ 315 h 268"/>
                <a:gd name="T50" fmla="*/ 193 w 168"/>
                <a:gd name="T51" fmla="*/ 288 h 268"/>
                <a:gd name="T52" fmla="*/ 181 w 168"/>
                <a:gd name="T53" fmla="*/ 264 h 268"/>
                <a:gd name="T54" fmla="*/ 119 w 168"/>
                <a:gd name="T55" fmla="*/ 249 h 268"/>
                <a:gd name="T56" fmla="*/ 45 w 168"/>
                <a:gd name="T57" fmla="*/ 242 h 268"/>
                <a:gd name="T58" fmla="*/ 0 w 168"/>
                <a:gd name="T59" fmla="*/ 218 h 268"/>
                <a:gd name="T60" fmla="*/ 45 w 168"/>
                <a:gd name="T61" fmla="*/ 201 h 268"/>
                <a:gd name="T62" fmla="*/ 285 w 168"/>
                <a:gd name="T63" fmla="*/ 74 h 268"/>
                <a:gd name="T64" fmla="*/ 241 w 168"/>
                <a:gd name="T65" fmla="*/ 63 h 268"/>
                <a:gd name="T66" fmla="*/ 193 w 168"/>
                <a:gd name="T67" fmla="*/ 53 h 268"/>
                <a:gd name="T68" fmla="*/ 181 w 168"/>
                <a:gd name="T69" fmla="*/ 7 h 26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68"/>
                <a:gd name="T106" fmla="*/ 0 h 268"/>
                <a:gd name="T107" fmla="*/ 168 w 168"/>
                <a:gd name="T108" fmla="*/ 268 h 26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68" h="268">
                  <a:moveTo>
                    <a:pt x="22" y="7"/>
                  </a:moveTo>
                  <a:lnTo>
                    <a:pt x="39" y="0"/>
                  </a:lnTo>
                  <a:lnTo>
                    <a:pt x="168" y="65"/>
                  </a:lnTo>
                  <a:lnTo>
                    <a:pt x="168" y="128"/>
                  </a:lnTo>
                  <a:lnTo>
                    <a:pt x="155" y="130"/>
                  </a:lnTo>
                  <a:lnTo>
                    <a:pt x="149" y="132"/>
                  </a:lnTo>
                  <a:lnTo>
                    <a:pt x="153" y="134"/>
                  </a:lnTo>
                  <a:lnTo>
                    <a:pt x="145" y="145"/>
                  </a:lnTo>
                  <a:lnTo>
                    <a:pt x="142" y="147"/>
                  </a:lnTo>
                  <a:lnTo>
                    <a:pt x="145" y="154"/>
                  </a:lnTo>
                  <a:lnTo>
                    <a:pt x="140" y="160"/>
                  </a:lnTo>
                  <a:lnTo>
                    <a:pt x="142" y="169"/>
                  </a:lnTo>
                  <a:lnTo>
                    <a:pt x="138" y="175"/>
                  </a:lnTo>
                  <a:lnTo>
                    <a:pt x="138" y="182"/>
                  </a:lnTo>
                  <a:lnTo>
                    <a:pt x="140" y="179"/>
                  </a:lnTo>
                  <a:lnTo>
                    <a:pt x="142" y="182"/>
                  </a:lnTo>
                  <a:lnTo>
                    <a:pt x="142" y="184"/>
                  </a:lnTo>
                  <a:lnTo>
                    <a:pt x="145" y="192"/>
                  </a:lnTo>
                  <a:lnTo>
                    <a:pt x="145" y="199"/>
                  </a:lnTo>
                  <a:lnTo>
                    <a:pt x="153" y="203"/>
                  </a:lnTo>
                  <a:lnTo>
                    <a:pt x="149" y="210"/>
                  </a:lnTo>
                  <a:lnTo>
                    <a:pt x="142" y="210"/>
                  </a:lnTo>
                  <a:lnTo>
                    <a:pt x="134" y="214"/>
                  </a:lnTo>
                  <a:lnTo>
                    <a:pt x="129" y="223"/>
                  </a:lnTo>
                  <a:lnTo>
                    <a:pt x="125" y="225"/>
                  </a:lnTo>
                  <a:lnTo>
                    <a:pt x="119" y="231"/>
                  </a:lnTo>
                  <a:lnTo>
                    <a:pt x="114" y="233"/>
                  </a:lnTo>
                  <a:lnTo>
                    <a:pt x="110" y="238"/>
                  </a:lnTo>
                  <a:lnTo>
                    <a:pt x="95" y="240"/>
                  </a:lnTo>
                  <a:lnTo>
                    <a:pt x="88" y="242"/>
                  </a:lnTo>
                  <a:lnTo>
                    <a:pt x="91" y="246"/>
                  </a:lnTo>
                  <a:lnTo>
                    <a:pt x="88" y="253"/>
                  </a:lnTo>
                  <a:lnTo>
                    <a:pt x="80" y="255"/>
                  </a:lnTo>
                  <a:lnTo>
                    <a:pt x="76" y="255"/>
                  </a:lnTo>
                  <a:lnTo>
                    <a:pt x="69" y="257"/>
                  </a:lnTo>
                  <a:lnTo>
                    <a:pt x="65" y="255"/>
                  </a:lnTo>
                  <a:lnTo>
                    <a:pt x="58" y="257"/>
                  </a:lnTo>
                  <a:lnTo>
                    <a:pt x="52" y="261"/>
                  </a:lnTo>
                  <a:lnTo>
                    <a:pt x="50" y="257"/>
                  </a:lnTo>
                  <a:lnTo>
                    <a:pt x="39" y="264"/>
                  </a:lnTo>
                  <a:lnTo>
                    <a:pt x="35" y="268"/>
                  </a:lnTo>
                  <a:lnTo>
                    <a:pt x="35" y="261"/>
                  </a:lnTo>
                  <a:lnTo>
                    <a:pt x="30" y="257"/>
                  </a:lnTo>
                  <a:lnTo>
                    <a:pt x="26" y="246"/>
                  </a:lnTo>
                  <a:lnTo>
                    <a:pt x="22" y="242"/>
                  </a:lnTo>
                  <a:lnTo>
                    <a:pt x="9" y="231"/>
                  </a:lnTo>
                  <a:lnTo>
                    <a:pt x="11" y="225"/>
                  </a:lnTo>
                  <a:lnTo>
                    <a:pt x="19" y="225"/>
                  </a:lnTo>
                  <a:lnTo>
                    <a:pt x="35" y="225"/>
                  </a:lnTo>
                  <a:lnTo>
                    <a:pt x="26" y="218"/>
                  </a:lnTo>
                  <a:lnTo>
                    <a:pt x="24" y="210"/>
                  </a:lnTo>
                  <a:lnTo>
                    <a:pt x="24" y="199"/>
                  </a:lnTo>
                  <a:lnTo>
                    <a:pt x="24" y="192"/>
                  </a:lnTo>
                  <a:lnTo>
                    <a:pt x="22" y="182"/>
                  </a:lnTo>
                  <a:lnTo>
                    <a:pt x="15" y="179"/>
                  </a:lnTo>
                  <a:lnTo>
                    <a:pt x="15" y="173"/>
                  </a:lnTo>
                  <a:lnTo>
                    <a:pt x="9" y="173"/>
                  </a:lnTo>
                  <a:lnTo>
                    <a:pt x="6" y="169"/>
                  </a:lnTo>
                  <a:lnTo>
                    <a:pt x="0" y="160"/>
                  </a:lnTo>
                  <a:lnTo>
                    <a:pt x="0" y="151"/>
                  </a:lnTo>
                  <a:lnTo>
                    <a:pt x="2" y="145"/>
                  </a:lnTo>
                  <a:lnTo>
                    <a:pt x="6" y="138"/>
                  </a:lnTo>
                  <a:lnTo>
                    <a:pt x="30" y="108"/>
                  </a:lnTo>
                  <a:lnTo>
                    <a:pt x="35" y="54"/>
                  </a:lnTo>
                  <a:lnTo>
                    <a:pt x="37" y="54"/>
                  </a:lnTo>
                  <a:lnTo>
                    <a:pt x="30" y="43"/>
                  </a:lnTo>
                  <a:lnTo>
                    <a:pt x="30" y="39"/>
                  </a:lnTo>
                  <a:lnTo>
                    <a:pt x="24" y="33"/>
                  </a:lnTo>
                  <a:lnTo>
                    <a:pt x="24" y="20"/>
                  </a:lnTo>
                  <a:lnTo>
                    <a:pt x="22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8" name="Freeform 202"/>
            <p:cNvSpPr>
              <a:spLocks noChangeAspect="1"/>
            </p:cNvSpPr>
            <p:nvPr/>
          </p:nvSpPr>
          <p:spPr bwMode="auto">
            <a:xfrm>
              <a:off x="2741" y="2034"/>
              <a:ext cx="72" cy="131"/>
            </a:xfrm>
            <a:custGeom>
              <a:avLst/>
              <a:gdLst>
                <a:gd name="T0" fmla="*/ 106 w 66"/>
                <a:gd name="T1" fmla="*/ 8 h 129"/>
                <a:gd name="T2" fmla="*/ 139 w 66"/>
                <a:gd name="T3" fmla="*/ 2 h 129"/>
                <a:gd name="T4" fmla="*/ 209 w 66"/>
                <a:gd name="T5" fmla="*/ 0 h 129"/>
                <a:gd name="T6" fmla="*/ 249 w 66"/>
                <a:gd name="T7" fmla="*/ 2 h 129"/>
                <a:gd name="T8" fmla="*/ 267 w 66"/>
                <a:gd name="T9" fmla="*/ 11 h 129"/>
                <a:gd name="T10" fmla="*/ 338 w 66"/>
                <a:gd name="T11" fmla="*/ 6 h 129"/>
                <a:gd name="T12" fmla="*/ 370 w 66"/>
                <a:gd name="T13" fmla="*/ 8 h 129"/>
                <a:gd name="T14" fmla="*/ 311 w 66"/>
                <a:gd name="T15" fmla="*/ 15 h 129"/>
                <a:gd name="T16" fmla="*/ 297 w 66"/>
                <a:gd name="T17" fmla="*/ 24 h 129"/>
                <a:gd name="T18" fmla="*/ 338 w 66"/>
                <a:gd name="T19" fmla="*/ 30 h 129"/>
                <a:gd name="T20" fmla="*/ 370 w 66"/>
                <a:gd name="T21" fmla="*/ 61 h 129"/>
                <a:gd name="T22" fmla="*/ 311 w 66"/>
                <a:gd name="T23" fmla="*/ 70 h 129"/>
                <a:gd name="T24" fmla="*/ 249 w 66"/>
                <a:gd name="T25" fmla="*/ 78 h 129"/>
                <a:gd name="T26" fmla="*/ 267 w 66"/>
                <a:gd name="T27" fmla="*/ 87 h 129"/>
                <a:gd name="T28" fmla="*/ 311 w 66"/>
                <a:gd name="T29" fmla="*/ 87 h 129"/>
                <a:gd name="T30" fmla="*/ 311 w 66"/>
                <a:gd name="T31" fmla="*/ 91 h 129"/>
                <a:gd name="T32" fmla="*/ 370 w 66"/>
                <a:gd name="T33" fmla="*/ 91 h 129"/>
                <a:gd name="T34" fmla="*/ 370 w 66"/>
                <a:gd name="T35" fmla="*/ 93 h 129"/>
                <a:gd name="T36" fmla="*/ 410 w 66"/>
                <a:gd name="T37" fmla="*/ 103 h 129"/>
                <a:gd name="T38" fmla="*/ 410 w 66"/>
                <a:gd name="T39" fmla="*/ 115 h 129"/>
                <a:gd name="T40" fmla="*/ 440 w 66"/>
                <a:gd name="T41" fmla="*/ 125 h 129"/>
                <a:gd name="T42" fmla="*/ 370 w 66"/>
                <a:gd name="T43" fmla="*/ 133 h 129"/>
                <a:gd name="T44" fmla="*/ 267 w 66"/>
                <a:gd name="T45" fmla="*/ 146 h 129"/>
                <a:gd name="T46" fmla="*/ 297 w 66"/>
                <a:gd name="T47" fmla="*/ 159 h 129"/>
                <a:gd name="T48" fmla="*/ 239 w 66"/>
                <a:gd name="T49" fmla="*/ 172 h 129"/>
                <a:gd name="T50" fmla="*/ 209 w 66"/>
                <a:gd name="T51" fmla="*/ 172 h 129"/>
                <a:gd name="T52" fmla="*/ 166 w 66"/>
                <a:gd name="T53" fmla="*/ 133 h 129"/>
                <a:gd name="T54" fmla="*/ 97 w 66"/>
                <a:gd name="T55" fmla="*/ 119 h 129"/>
                <a:gd name="T56" fmla="*/ 63 w 66"/>
                <a:gd name="T57" fmla="*/ 95 h 129"/>
                <a:gd name="T58" fmla="*/ 38 w 66"/>
                <a:gd name="T59" fmla="*/ 93 h 129"/>
                <a:gd name="T60" fmla="*/ 0 w 66"/>
                <a:gd name="T61" fmla="*/ 80 h 129"/>
                <a:gd name="T62" fmla="*/ 63 w 66"/>
                <a:gd name="T63" fmla="*/ 65 h 129"/>
                <a:gd name="T64" fmla="*/ 63 w 66"/>
                <a:gd name="T65" fmla="*/ 30 h 129"/>
                <a:gd name="T66" fmla="*/ 63 w 66"/>
                <a:gd name="T67" fmla="*/ 19 h 129"/>
                <a:gd name="T68" fmla="*/ 63 w 66"/>
                <a:gd name="T69" fmla="*/ 15 h 129"/>
                <a:gd name="T70" fmla="*/ 106 w 66"/>
                <a:gd name="T71" fmla="*/ 11 h 129"/>
                <a:gd name="T72" fmla="*/ 106 w 66"/>
                <a:gd name="T73" fmla="*/ 8 h 12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6"/>
                <a:gd name="T112" fmla="*/ 0 h 129"/>
                <a:gd name="T113" fmla="*/ 66 w 66"/>
                <a:gd name="T114" fmla="*/ 129 h 12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6" h="129">
                  <a:moveTo>
                    <a:pt x="17" y="8"/>
                  </a:moveTo>
                  <a:lnTo>
                    <a:pt x="21" y="2"/>
                  </a:lnTo>
                  <a:lnTo>
                    <a:pt x="32" y="0"/>
                  </a:lnTo>
                  <a:lnTo>
                    <a:pt x="38" y="2"/>
                  </a:lnTo>
                  <a:lnTo>
                    <a:pt x="41" y="11"/>
                  </a:lnTo>
                  <a:lnTo>
                    <a:pt x="51" y="6"/>
                  </a:lnTo>
                  <a:lnTo>
                    <a:pt x="56" y="8"/>
                  </a:lnTo>
                  <a:lnTo>
                    <a:pt x="47" y="15"/>
                  </a:lnTo>
                  <a:lnTo>
                    <a:pt x="45" y="24"/>
                  </a:lnTo>
                  <a:lnTo>
                    <a:pt x="51" y="30"/>
                  </a:lnTo>
                  <a:lnTo>
                    <a:pt x="56" y="41"/>
                  </a:lnTo>
                  <a:lnTo>
                    <a:pt x="47" y="50"/>
                  </a:lnTo>
                  <a:lnTo>
                    <a:pt x="38" y="58"/>
                  </a:lnTo>
                  <a:lnTo>
                    <a:pt x="41" y="67"/>
                  </a:lnTo>
                  <a:lnTo>
                    <a:pt x="47" y="67"/>
                  </a:lnTo>
                  <a:lnTo>
                    <a:pt x="47" y="71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62" y="80"/>
                  </a:lnTo>
                  <a:lnTo>
                    <a:pt x="62" y="86"/>
                  </a:lnTo>
                  <a:lnTo>
                    <a:pt x="66" y="91"/>
                  </a:lnTo>
                  <a:lnTo>
                    <a:pt x="56" y="95"/>
                  </a:lnTo>
                  <a:lnTo>
                    <a:pt x="41" y="106"/>
                  </a:lnTo>
                  <a:lnTo>
                    <a:pt x="45" y="119"/>
                  </a:lnTo>
                  <a:lnTo>
                    <a:pt x="36" y="129"/>
                  </a:lnTo>
                  <a:lnTo>
                    <a:pt x="32" y="129"/>
                  </a:lnTo>
                  <a:lnTo>
                    <a:pt x="25" y="95"/>
                  </a:lnTo>
                  <a:lnTo>
                    <a:pt x="15" y="88"/>
                  </a:lnTo>
                  <a:lnTo>
                    <a:pt x="10" y="75"/>
                  </a:lnTo>
                  <a:lnTo>
                    <a:pt x="6" y="73"/>
                  </a:lnTo>
                  <a:lnTo>
                    <a:pt x="0" y="60"/>
                  </a:lnTo>
                  <a:lnTo>
                    <a:pt x="10" y="45"/>
                  </a:lnTo>
                  <a:lnTo>
                    <a:pt x="10" y="30"/>
                  </a:lnTo>
                  <a:lnTo>
                    <a:pt x="10" y="19"/>
                  </a:lnTo>
                  <a:lnTo>
                    <a:pt x="10" y="15"/>
                  </a:lnTo>
                  <a:lnTo>
                    <a:pt x="17" y="11"/>
                  </a:lnTo>
                  <a:lnTo>
                    <a:pt x="17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09" name="Freeform 203"/>
            <p:cNvSpPr>
              <a:spLocks noChangeAspect="1"/>
            </p:cNvSpPr>
            <p:nvPr/>
          </p:nvSpPr>
          <p:spPr bwMode="auto">
            <a:xfrm>
              <a:off x="3142" y="2618"/>
              <a:ext cx="100" cy="93"/>
            </a:xfrm>
            <a:custGeom>
              <a:avLst/>
              <a:gdLst>
                <a:gd name="T0" fmla="*/ 159 w 91"/>
                <a:gd name="T1" fmla="*/ 7 h 91"/>
                <a:gd name="T2" fmla="*/ 175 w 91"/>
                <a:gd name="T3" fmla="*/ 4 h 91"/>
                <a:gd name="T4" fmla="*/ 266 w 91"/>
                <a:gd name="T5" fmla="*/ 7 h 91"/>
                <a:gd name="T6" fmla="*/ 321 w 91"/>
                <a:gd name="T7" fmla="*/ 9 h 91"/>
                <a:gd name="T8" fmla="*/ 338 w 91"/>
                <a:gd name="T9" fmla="*/ 7 h 91"/>
                <a:gd name="T10" fmla="*/ 408 w 91"/>
                <a:gd name="T11" fmla="*/ 7 h 91"/>
                <a:gd name="T12" fmla="*/ 502 w 91"/>
                <a:gd name="T13" fmla="*/ 7 h 91"/>
                <a:gd name="T14" fmla="*/ 595 w 91"/>
                <a:gd name="T15" fmla="*/ 0 h 91"/>
                <a:gd name="T16" fmla="*/ 595 w 91"/>
                <a:gd name="T17" fmla="*/ 4 h 91"/>
                <a:gd name="T18" fmla="*/ 621 w 91"/>
                <a:gd name="T19" fmla="*/ 7 h 91"/>
                <a:gd name="T20" fmla="*/ 621 w 91"/>
                <a:gd name="T21" fmla="*/ 11 h 91"/>
                <a:gd name="T22" fmla="*/ 647 w 91"/>
                <a:gd name="T23" fmla="*/ 22 h 91"/>
                <a:gd name="T24" fmla="*/ 716 w 91"/>
                <a:gd name="T25" fmla="*/ 55 h 91"/>
                <a:gd name="T26" fmla="*/ 647 w 91"/>
                <a:gd name="T27" fmla="*/ 65 h 91"/>
                <a:gd name="T28" fmla="*/ 552 w 91"/>
                <a:gd name="T29" fmla="*/ 101 h 91"/>
                <a:gd name="T30" fmla="*/ 552 w 91"/>
                <a:gd name="T31" fmla="*/ 126 h 91"/>
                <a:gd name="T32" fmla="*/ 353 w 91"/>
                <a:gd name="T33" fmla="*/ 126 h 91"/>
                <a:gd name="T34" fmla="*/ 175 w 91"/>
                <a:gd name="T35" fmla="*/ 126 h 91"/>
                <a:gd name="T36" fmla="*/ 112 w 91"/>
                <a:gd name="T37" fmla="*/ 129 h 91"/>
                <a:gd name="T38" fmla="*/ 56 w 91"/>
                <a:gd name="T39" fmla="*/ 139 h 91"/>
                <a:gd name="T40" fmla="*/ 56 w 91"/>
                <a:gd name="T41" fmla="*/ 136 h 91"/>
                <a:gd name="T42" fmla="*/ 0 w 91"/>
                <a:gd name="T43" fmla="*/ 136 h 91"/>
                <a:gd name="T44" fmla="*/ 2 w 91"/>
                <a:gd name="T45" fmla="*/ 105 h 91"/>
                <a:gd name="T46" fmla="*/ 56 w 91"/>
                <a:gd name="T47" fmla="*/ 87 h 91"/>
                <a:gd name="T48" fmla="*/ 82 w 91"/>
                <a:gd name="T49" fmla="*/ 71 h 91"/>
                <a:gd name="T50" fmla="*/ 175 w 91"/>
                <a:gd name="T51" fmla="*/ 59 h 91"/>
                <a:gd name="T52" fmla="*/ 216 w 91"/>
                <a:gd name="T53" fmla="*/ 55 h 91"/>
                <a:gd name="T54" fmla="*/ 175 w 91"/>
                <a:gd name="T55" fmla="*/ 44 h 91"/>
                <a:gd name="T56" fmla="*/ 175 w 91"/>
                <a:gd name="T57" fmla="*/ 19 h 91"/>
                <a:gd name="T58" fmla="*/ 175 w 91"/>
                <a:gd name="T59" fmla="*/ 11 h 91"/>
                <a:gd name="T60" fmla="*/ 159 w 91"/>
                <a:gd name="T61" fmla="*/ 7 h 9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1"/>
                <a:gd name="T94" fmla="*/ 0 h 91"/>
                <a:gd name="T95" fmla="*/ 91 w 91"/>
                <a:gd name="T96" fmla="*/ 91 h 9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1" h="91">
                  <a:moveTo>
                    <a:pt x="20" y="7"/>
                  </a:moveTo>
                  <a:lnTo>
                    <a:pt x="22" y="4"/>
                  </a:lnTo>
                  <a:lnTo>
                    <a:pt x="35" y="7"/>
                  </a:lnTo>
                  <a:lnTo>
                    <a:pt x="41" y="9"/>
                  </a:lnTo>
                  <a:lnTo>
                    <a:pt x="43" y="7"/>
                  </a:lnTo>
                  <a:lnTo>
                    <a:pt x="52" y="7"/>
                  </a:lnTo>
                  <a:lnTo>
                    <a:pt x="65" y="7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82" y="22"/>
                  </a:lnTo>
                  <a:lnTo>
                    <a:pt x="91" y="35"/>
                  </a:lnTo>
                  <a:lnTo>
                    <a:pt x="82" y="45"/>
                  </a:lnTo>
                  <a:lnTo>
                    <a:pt x="72" y="65"/>
                  </a:lnTo>
                  <a:lnTo>
                    <a:pt x="72" y="82"/>
                  </a:lnTo>
                  <a:lnTo>
                    <a:pt x="46" y="82"/>
                  </a:lnTo>
                  <a:lnTo>
                    <a:pt x="22" y="82"/>
                  </a:lnTo>
                  <a:lnTo>
                    <a:pt x="15" y="84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0" y="89"/>
                  </a:lnTo>
                  <a:lnTo>
                    <a:pt x="2" y="67"/>
                  </a:lnTo>
                  <a:lnTo>
                    <a:pt x="7" y="58"/>
                  </a:lnTo>
                  <a:lnTo>
                    <a:pt x="11" y="50"/>
                  </a:lnTo>
                  <a:lnTo>
                    <a:pt x="22" y="39"/>
                  </a:lnTo>
                  <a:lnTo>
                    <a:pt x="28" y="35"/>
                  </a:lnTo>
                  <a:lnTo>
                    <a:pt x="22" y="24"/>
                  </a:lnTo>
                  <a:lnTo>
                    <a:pt x="22" y="19"/>
                  </a:lnTo>
                  <a:lnTo>
                    <a:pt x="22" y="11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0" name="Freeform 204"/>
            <p:cNvSpPr>
              <a:spLocks noChangeAspect="1"/>
            </p:cNvSpPr>
            <p:nvPr/>
          </p:nvSpPr>
          <p:spPr bwMode="auto">
            <a:xfrm>
              <a:off x="2827" y="2596"/>
              <a:ext cx="345" cy="316"/>
            </a:xfrm>
            <a:custGeom>
              <a:avLst/>
              <a:gdLst>
                <a:gd name="T0" fmla="*/ 853 w 313"/>
                <a:gd name="T1" fmla="*/ 16 h 311"/>
                <a:gd name="T2" fmla="*/ 1082 w 313"/>
                <a:gd name="T3" fmla="*/ 11 h 311"/>
                <a:gd name="T4" fmla="*/ 1314 w 313"/>
                <a:gd name="T5" fmla="*/ 18 h 311"/>
                <a:gd name="T6" fmla="*/ 1448 w 313"/>
                <a:gd name="T7" fmla="*/ 11 h 311"/>
                <a:gd name="T8" fmla="*/ 1654 w 313"/>
                <a:gd name="T9" fmla="*/ 7 h 311"/>
                <a:gd name="T10" fmla="*/ 1770 w 313"/>
                <a:gd name="T11" fmla="*/ 3 h 311"/>
                <a:gd name="T12" fmla="*/ 1908 w 313"/>
                <a:gd name="T13" fmla="*/ 3 h 311"/>
                <a:gd name="T14" fmla="*/ 1988 w 313"/>
                <a:gd name="T15" fmla="*/ 3 h 311"/>
                <a:gd name="T16" fmla="*/ 2103 w 313"/>
                <a:gd name="T17" fmla="*/ 11 h 311"/>
                <a:gd name="T18" fmla="*/ 2214 w 313"/>
                <a:gd name="T19" fmla="*/ 16 h 311"/>
                <a:gd name="T20" fmla="*/ 2306 w 313"/>
                <a:gd name="T21" fmla="*/ 16 h 311"/>
                <a:gd name="T22" fmla="*/ 2401 w 313"/>
                <a:gd name="T23" fmla="*/ 18 h 311"/>
                <a:gd name="T24" fmla="*/ 2530 w 313"/>
                <a:gd name="T25" fmla="*/ 59 h 311"/>
                <a:gd name="T26" fmla="*/ 2530 w 313"/>
                <a:gd name="T27" fmla="*/ 81 h 311"/>
                <a:gd name="T28" fmla="*/ 2360 w 313"/>
                <a:gd name="T29" fmla="*/ 124 h 311"/>
                <a:gd name="T30" fmla="*/ 2306 w 313"/>
                <a:gd name="T31" fmla="*/ 157 h 311"/>
                <a:gd name="T32" fmla="*/ 2245 w 313"/>
                <a:gd name="T33" fmla="*/ 180 h 311"/>
                <a:gd name="T34" fmla="*/ 2306 w 313"/>
                <a:gd name="T35" fmla="*/ 199 h 311"/>
                <a:gd name="T36" fmla="*/ 2306 w 313"/>
                <a:gd name="T37" fmla="*/ 223 h 311"/>
                <a:gd name="T38" fmla="*/ 2306 w 313"/>
                <a:gd name="T39" fmla="*/ 260 h 311"/>
                <a:gd name="T40" fmla="*/ 2493 w 313"/>
                <a:gd name="T41" fmla="*/ 311 h 311"/>
                <a:gd name="T42" fmla="*/ 2214 w 313"/>
                <a:gd name="T43" fmla="*/ 330 h 311"/>
                <a:gd name="T44" fmla="*/ 2193 w 313"/>
                <a:gd name="T45" fmla="*/ 359 h 311"/>
                <a:gd name="T46" fmla="*/ 2150 w 313"/>
                <a:gd name="T47" fmla="*/ 391 h 311"/>
                <a:gd name="T48" fmla="*/ 2306 w 313"/>
                <a:gd name="T49" fmla="*/ 406 h 311"/>
                <a:gd name="T50" fmla="*/ 2306 w 313"/>
                <a:gd name="T51" fmla="*/ 427 h 311"/>
                <a:gd name="T52" fmla="*/ 2214 w 313"/>
                <a:gd name="T53" fmla="*/ 419 h 311"/>
                <a:gd name="T54" fmla="*/ 1988 w 313"/>
                <a:gd name="T55" fmla="*/ 388 h 311"/>
                <a:gd name="T56" fmla="*/ 1920 w 313"/>
                <a:gd name="T57" fmla="*/ 393 h 311"/>
                <a:gd name="T58" fmla="*/ 1742 w 313"/>
                <a:gd name="T59" fmla="*/ 371 h 311"/>
                <a:gd name="T60" fmla="*/ 1570 w 313"/>
                <a:gd name="T61" fmla="*/ 369 h 311"/>
                <a:gd name="T62" fmla="*/ 1448 w 313"/>
                <a:gd name="T63" fmla="*/ 371 h 311"/>
                <a:gd name="T64" fmla="*/ 1332 w 313"/>
                <a:gd name="T65" fmla="*/ 371 h 311"/>
                <a:gd name="T66" fmla="*/ 1314 w 313"/>
                <a:gd name="T67" fmla="*/ 343 h 311"/>
                <a:gd name="T68" fmla="*/ 1292 w 313"/>
                <a:gd name="T69" fmla="*/ 306 h 311"/>
                <a:gd name="T70" fmla="*/ 1110 w 313"/>
                <a:gd name="T71" fmla="*/ 275 h 311"/>
                <a:gd name="T72" fmla="*/ 981 w 313"/>
                <a:gd name="T73" fmla="*/ 292 h 311"/>
                <a:gd name="T74" fmla="*/ 853 w 313"/>
                <a:gd name="T75" fmla="*/ 302 h 311"/>
                <a:gd name="T76" fmla="*/ 619 w 313"/>
                <a:gd name="T77" fmla="*/ 282 h 311"/>
                <a:gd name="T78" fmla="*/ 597 w 313"/>
                <a:gd name="T79" fmla="*/ 264 h 311"/>
                <a:gd name="T80" fmla="*/ 260 w 313"/>
                <a:gd name="T81" fmla="*/ 255 h 311"/>
                <a:gd name="T82" fmla="*/ 90 w 313"/>
                <a:gd name="T83" fmla="*/ 255 h 311"/>
                <a:gd name="T84" fmla="*/ 61 w 313"/>
                <a:gd name="T85" fmla="*/ 250 h 311"/>
                <a:gd name="T86" fmla="*/ 90 w 313"/>
                <a:gd name="T87" fmla="*/ 223 h 311"/>
                <a:gd name="T88" fmla="*/ 186 w 313"/>
                <a:gd name="T89" fmla="*/ 230 h 311"/>
                <a:gd name="T90" fmla="*/ 302 w 313"/>
                <a:gd name="T91" fmla="*/ 223 h 311"/>
                <a:gd name="T92" fmla="*/ 389 w 313"/>
                <a:gd name="T93" fmla="*/ 220 h 311"/>
                <a:gd name="T94" fmla="*/ 514 w 313"/>
                <a:gd name="T95" fmla="*/ 193 h 311"/>
                <a:gd name="T96" fmla="*/ 597 w 313"/>
                <a:gd name="T97" fmla="*/ 157 h 311"/>
                <a:gd name="T98" fmla="*/ 680 w 313"/>
                <a:gd name="T99" fmla="*/ 144 h 311"/>
                <a:gd name="T100" fmla="*/ 751 w 313"/>
                <a:gd name="T101" fmla="*/ 110 h 311"/>
                <a:gd name="T102" fmla="*/ 789 w 313"/>
                <a:gd name="T103" fmla="*/ 77 h 311"/>
                <a:gd name="T104" fmla="*/ 853 w 313"/>
                <a:gd name="T105" fmla="*/ 26 h 3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13"/>
                <a:gd name="T160" fmla="*/ 0 h 311"/>
                <a:gd name="T161" fmla="*/ 313 w 313"/>
                <a:gd name="T162" fmla="*/ 311 h 31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13" h="311">
                  <a:moveTo>
                    <a:pt x="104" y="26"/>
                  </a:moveTo>
                  <a:lnTo>
                    <a:pt x="104" y="18"/>
                  </a:lnTo>
                  <a:lnTo>
                    <a:pt x="104" y="16"/>
                  </a:lnTo>
                  <a:lnTo>
                    <a:pt x="110" y="9"/>
                  </a:lnTo>
                  <a:lnTo>
                    <a:pt x="119" y="3"/>
                  </a:lnTo>
                  <a:lnTo>
                    <a:pt x="132" y="11"/>
                  </a:lnTo>
                  <a:lnTo>
                    <a:pt x="141" y="16"/>
                  </a:lnTo>
                  <a:lnTo>
                    <a:pt x="151" y="18"/>
                  </a:lnTo>
                  <a:lnTo>
                    <a:pt x="160" y="18"/>
                  </a:lnTo>
                  <a:lnTo>
                    <a:pt x="167" y="22"/>
                  </a:lnTo>
                  <a:lnTo>
                    <a:pt x="171" y="11"/>
                  </a:lnTo>
                  <a:lnTo>
                    <a:pt x="175" y="11"/>
                  </a:lnTo>
                  <a:lnTo>
                    <a:pt x="184" y="11"/>
                  </a:lnTo>
                  <a:lnTo>
                    <a:pt x="190" y="9"/>
                  </a:lnTo>
                  <a:lnTo>
                    <a:pt x="201" y="7"/>
                  </a:lnTo>
                  <a:lnTo>
                    <a:pt x="205" y="7"/>
                  </a:lnTo>
                  <a:lnTo>
                    <a:pt x="212" y="7"/>
                  </a:lnTo>
                  <a:lnTo>
                    <a:pt x="216" y="3"/>
                  </a:lnTo>
                  <a:lnTo>
                    <a:pt x="216" y="0"/>
                  </a:lnTo>
                  <a:lnTo>
                    <a:pt x="225" y="3"/>
                  </a:lnTo>
                  <a:lnTo>
                    <a:pt x="231" y="3"/>
                  </a:lnTo>
                  <a:lnTo>
                    <a:pt x="234" y="7"/>
                  </a:lnTo>
                  <a:lnTo>
                    <a:pt x="240" y="7"/>
                  </a:lnTo>
                  <a:lnTo>
                    <a:pt x="242" y="3"/>
                  </a:lnTo>
                  <a:lnTo>
                    <a:pt x="249" y="3"/>
                  </a:lnTo>
                  <a:lnTo>
                    <a:pt x="255" y="7"/>
                  </a:lnTo>
                  <a:lnTo>
                    <a:pt x="255" y="11"/>
                  </a:lnTo>
                  <a:lnTo>
                    <a:pt x="262" y="16"/>
                  </a:lnTo>
                  <a:lnTo>
                    <a:pt x="268" y="18"/>
                  </a:lnTo>
                  <a:lnTo>
                    <a:pt x="270" y="16"/>
                  </a:lnTo>
                  <a:lnTo>
                    <a:pt x="272" y="11"/>
                  </a:lnTo>
                  <a:lnTo>
                    <a:pt x="272" y="16"/>
                  </a:lnTo>
                  <a:lnTo>
                    <a:pt x="281" y="16"/>
                  </a:lnTo>
                  <a:lnTo>
                    <a:pt x="281" y="11"/>
                  </a:lnTo>
                  <a:lnTo>
                    <a:pt x="285" y="11"/>
                  </a:lnTo>
                  <a:lnTo>
                    <a:pt x="292" y="18"/>
                  </a:lnTo>
                  <a:lnTo>
                    <a:pt x="305" y="26"/>
                  </a:lnTo>
                  <a:lnTo>
                    <a:pt x="307" y="33"/>
                  </a:lnTo>
                  <a:lnTo>
                    <a:pt x="307" y="39"/>
                  </a:lnTo>
                  <a:lnTo>
                    <a:pt x="307" y="46"/>
                  </a:lnTo>
                  <a:lnTo>
                    <a:pt x="313" y="57"/>
                  </a:lnTo>
                  <a:lnTo>
                    <a:pt x="307" y="61"/>
                  </a:lnTo>
                  <a:lnTo>
                    <a:pt x="298" y="72"/>
                  </a:lnTo>
                  <a:lnTo>
                    <a:pt x="292" y="80"/>
                  </a:lnTo>
                  <a:lnTo>
                    <a:pt x="287" y="89"/>
                  </a:lnTo>
                  <a:lnTo>
                    <a:pt x="285" y="111"/>
                  </a:lnTo>
                  <a:lnTo>
                    <a:pt x="285" y="113"/>
                  </a:lnTo>
                  <a:lnTo>
                    <a:pt x="281" y="117"/>
                  </a:lnTo>
                  <a:lnTo>
                    <a:pt x="277" y="126"/>
                  </a:lnTo>
                  <a:lnTo>
                    <a:pt x="272" y="130"/>
                  </a:lnTo>
                  <a:lnTo>
                    <a:pt x="272" y="132"/>
                  </a:lnTo>
                  <a:lnTo>
                    <a:pt x="277" y="136"/>
                  </a:lnTo>
                  <a:lnTo>
                    <a:pt x="281" y="141"/>
                  </a:lnTo>
                  <a:lnTo>
                    <a:pt x="281" y="145"/>
                  </a:lnTo>
                  <a:lnTo>
                    <a:pt x="281" y="152"/>
                  </a:lnTo>
                  <a:lnTo>
                    <a:pt x="281" y="160"/>
                  </a:lnTo>
                  <a:lnTo>
                    <a:pt x="281" y="162"/>
                  </a:lnTo>
                  <a:lnTo>
                    <a:pt x="281" y="169"/>
                  </a:lnTo>
                  <a:lnTo>
                    <a:pt x="281" y="177"/>
                  </a:lnTo>
                  <a:lnTo>
                    <a:pt x="281" y="190"/>
                  </a:lnTo>
                  <a:lnTo>
                    <a:pt x="287" y="201"/>
                  </a:lnTo>
                  <a:lnTo>
                    <a:pt x="298" y="210"/>
                  </a:lnTo>
                  <a:lnTo>
                    <a:pt x="305" y="225"/>
                  </a:lnTo>
                  <a:lnTo>
                    <a:pt x="272" y="227"/>
                  </a:lnTo>
                  <a:lnTo>
                    <a:pt x="272" y="231"/>
                  </a:lnTo>
                  <a:lnTo>
                    <a:pt x="270" y="240"/>
                  </a:lnTo>
                  <a:lnTo>
                    <a:pt x="266" y="247"/>
                  </a:lnTo>
                  <a:lnTo>
                    <a:pt x="268" y="251"/>
                  </a:lnTo>
                  <a:lnTo>
                    <a:pt x="268" y="262"/>
                  </a:lnTo>
                  <a:lnTo>
                    <a:pt x="266" y="268"/>
                  </a:lnTo>
                  <a:lnTo>
                    <a:pt x="266" y="275"/>
                  </a:lnTo>
                  <a:lnTo>
                    <a:pt x="262" y="283"/>
                  </a:lnTo>
                  <a:lnTo>
                    <a:pt x="266" y="285"/>
                  </a:lnTo>
                  <a:lnTo>
                    <a:pt x="272" y="292"/>
                  </a:lnTo>
                  <a:lnTo>
                    <a:pt x="281" y="296"/>
                  </a:lnTo>
                  <a:lnTo>
                    <a:pt x="281" y="292"/>
                  </a:lnTo>
                  <a:lnTo>
                    <a:pt x="285" y="292"/>
                  </a:lnTo>
                  <a:lnTo>
                    <a:pt x="281" y="311"/>
                  </a:lnTo>
                  <a:lnTo>
                    <a:pt x="281" y="307"/>
                  </a:lnTo>
                  <a:lnTo>
                    <a:pt x="272" y="311"/>
                  </a:lnTo>
                  <a:lnTo>
                    <a:pt x="270" y="305"/>
                  </a:lnTo>
                  <a:lnTo>
                    <a:pt x="262" y="292"/>
                  </a:lnTo>
                  <a:lnTo>
                    <a:pt x="253" y="292"/>
                  </a:lnTo>
                  <a:lnTo>
                    <a:pt x="242" y="281"/>
                  </a:lnTo>
                  <a:lnTo>
                    <a:pt x="240" y="281"/>
                  </a:lnTo>
                  <a:lnTo>
                    <a:pt x="240" y="285"/>
                  </a:lnTo>
                  <a:lnTo>
                    <a:pt x="234" y="285"/>
                  </a:lnTo>
                  <a:lnTo>
                    <a:pt x="227" y="285"/>
                  </a:lnTo>
                  <a:lnTo>
                    <a:pt x="216" y="281"/>
                  </a:lnTo>
                  <a:lnTo>
                    <a:pt x="212" y="270"/>
                  </a:lnTo>
                  <a:lnTo>
                    <a:pt x="201" y="281"/>
                  </a:lnTo>
                  <a:lnTo>
                    <a:pt x="197" y="270"/>
                  </a:lnTo>
                  <a:lnTo>
                    <a:pt x="190" y="268"/>
                  </a:lnTo>
                  <a:lnTo>
                    <a:pt x="190" y="270"/>
                  </a:lnTo>
                  <a:lnTo>
                    <a:pt x="184" y="268"/>
                  </a:lnTo>
                  <a:lnTo>
                    <a:pt x="175" y="270"/>
                  </a:lnTo>
                  <a:lnTo>
                    <a:pt x="169" y="270"/>
                  </a:lnTo>
                  <a:lnTo>
                    <a:pt x="167" y="275"/>
                  </a:lnTo>
                  <a:lnTo>
                    <a:pt x="162" y="270"/>
                  </a:lnTo>
                  <a:lnTo>
                    <a:pt x="162" y="266"/>
                  </a:lnTo>
                  <a:lnTo>
                    <a:pt x="162" y="251"/>
                  </a:lnTo>
                  <a:lnTo>
                    <a:pt x="160" y="251"/>
                  </a:lnTo>
                  <a:lnTo>
                    <a:pt x="151" y="242"/>
                  </a:lnTo>
                  <a:lnTo>
                    <a:pt x="160" y="231"/>
                  </a:lnTo>
                  <a:lnTo>
                    <a:pt x="156" y="221"/>
                  </a:lnTo>
                  <a:lnTo>
                    <a:pt x="151" y="210"/>
                  </a:lnTo>
                  <a:lnTo>
                    <a:pt x="136" y="210"/>
                  </a:lnTo>
                  <a:lnTo>
                    <a:pt x="136" y="201"/>
                  </a:lnTo>
                  <a:lnTo>
                    <a:pt x="128" y="201"/>
                  </a:lnTo>
                  <a:lnTo>
                    <a:pt x="119" y="206"/>
                  </a:lnTo>
                  <a:lnTo>
                    <a:pt x="119" y="212"/>
                  </a:lnTo>
                  <a:lnTo>
                    <a:pt x="117" y="212"/>
                  </a:lnTo>
                  <a:lnTo>
                    <a:pt x="117" y="218"/>
                  </a:lnTo>
                  <a:lnTo>
                    <a:pt x="104" y="218"/>
                  </a:lnTo>
                  <a:lnTo>
                    <a:pt x="102" y="221"/>
                  </a:lnTo>
                  <a:lnTo>
                    <a:pt x="87" y="221"/>
                  </a:lnTo>
                  <a:lnTo>
                    <a:pt x="76" y="206"/>
                  </a:lnTo>
                  <a:lnTo>
                    <a:pt x="76" y="201"/>
                  </a:lnTo>
                  <a:lnTo>
                    <a:pt x="72" y="197"/>
                  </a:lnTo>
                  <a:lnTo>
                    <a:pt x="72" y="193"/>
                  </a:lnTo>
                  <a:lnTo>
                    <a:pt x="72" y="186"/>
                  </a:lnTo>
                  <a:lnTo>
                    <a:pt x="61" y="186"/>
                  </a:lnTo>
                  <a:lnTo>
                    <a:pt x="31" y="186"/>
                  </a:lnTo>
                  <a:lnTo>
                    <a:pt x="22" y="186"/>
                  </a:lnTo>
                  <a:lnTo>
                    <a:pt x="18" y="186"/>
                  </a:lnTo>
                  <a:lnTo>
                    <a:pt x="11" y="186"/>
                  </a:lnTo>
                  <a:lnTo>
                    <a:pt x="3" y="186"/>
                  </a:lnTo>
                  <a:lnTo>
                    <a:pt x="0" y="182"/>
                  </a:lnTo>
                  <a:lnTo>
                    <a:pt x="7" y="182"/>
                  </a:lnTo>
                  <a:lnTo>
                    <a:pt x="7" y="171"/>
                  </a:lnTo>
                  <a:lnTo>
                    <a:pt x="11" y="167"/>
                  </a:lnTo>
                  <a:lnTo>
                    <a:pt x="11" y="162"/>
                  </a:lnTo>
                  <a:lnTo>
                    <a:pt x="16" y="162"/>
                  </a:lnTo>
                  <a:lnTo>
                    <a:pt x="18" y="167"/>
                  </a:lnTo>
                  <a:lnTo>
                    <a:pt x="22" y="167"/>
                  </a:lnTo>
                  <a:lnTo>
                    <a:pt x="26" y="160"/>
                  </a:lnTo>
                  <a:lnTo>
                    <a:pt x="33" y="160"/>
                  </a:lnTo>
                  <a:lnTo>
                    <a:pt x="37" y="162"/>
                  </a:lnTo>
                  <a:lnTo>
                    <a:pt x="39" y="169"/>
                  </a:lnTo>
                  <a:lnTo>
                    <a:pt x="46" y="162"/>
                  </a:lnTo>
                  <a:lnTo>
                    <a:pt x="48" y="160"/>
                  </a:lnTo>
                  <a:lnTo>
                    <a:pt x="54" y="156"/>
                  </a:lnTo>
                  <a:lnTo>
                    <a:pt x="61" y="152"/>
                  </a:lnTo>
                  <a:lnTo>
                    <a:pt x="63" y="141"/>
                  </a:lnTo>
                  <a:lnTo>
                    <a:pt x="63" y="132"/>
                  </a:lnTo>
                  <a:lnTo>
                    <a:pt x="63" y="121"/>
                  </a:lnTo>
                  <a:lnTo>
                    <a:pt x="72" y="117"/>
                  </a:lnTo>
                  <a:lnTo>
                    <a:pt x="72" y="113"/>
                  </a:lnTo>
                  <a:lnTo>
                    <a:pt x="76" y="104"/>
                  </a:lnTo>
                  <a:lnTo>
                    <a:pt x="82" y="104"/>
                  </a:lnTo>
                  <a:lnTo>
                    <a:pt x="91" y="95"/>
                  </a:lnTo>
                  <a:lnTo>
                    <a:pt x="91" y="89"/>
                  </a:lnTo>
                  <a:lnTo>
                    <a:pt x="91" y="82"/>
                  </a:lnTo>
                  <a:lnTo>
                    <a:pt x="91" y="72"/>
                  </a:lnTo>
                  <a:lnTo>
                    <a:pt x="95" y="65"/>
                  </a:lnTo>
                  <a:lnTo>
                    <a:pt x="95" y="57"/>
                  </a:lnTo>
                  <a:lnTo>
                    <a:pt x="102" y="41"/>
                  </a:lnTo>
                  <a:lnTo>
                    <a:pt x="104" y="37"/>
                  </a:lnTo>
                  <a:lnTo>
                    <a:pt x="104" y="2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1" name="Freeform 205"/>
            <p:cNvSpPr>
              <a:spLocks noChangeAspect="1"/>
            </p:cNvSpPr>
            <p:nvPr/>
          </p:nvSpPr>
          <p:spPr bwMode="auto">
            <a:xfrm>
              <a:off x="2873" y="2502"/>
              <a:ext cx="229" cy="144"/>
            </a:xfrm>
            <a:custGeom>
              <a:avLst/>
              <a:gdLst>
                <a:gd name="T0" fmla="*/ 179 w 208"/>
                <a:gd name="T1" fmla="*/ 74 h 142"/>
                <a:gd name="T2" fmla="*/ 263 w 208"/>
                <a:gd name="T3" fmla="*/ 71 h 142"/>
                <a:gd name="T4" fmla="*/ 383 w 208"/>
                <a:gd name="T5" fmla="*/ 65 h 142"/>
                <a:gd name="T6" fmla="*/ 459 w 208"/>
                <a:gd name="T7" fmla="*/ 65 h 142"/>
                <a:gd name="T8" fmla="*/ 567 w 208"/>
                <a:gd name="T9" fmla="*/ 63 h 142"/>
                <a:gd name="T10" fmla="*/ 567 w 208"/>
                <a:gd name="T11" fmla="*/ 34 h 142"/>
                <a:gd name="T12" fmla="*/ 724 w 208"/>
                <a:gd name="T13" fmla="*/ 28 h 142"/>
                <a:gd name="T14" fmla="*/ 797 w 208"/>
                <a:gd name="T15" fmla="*/ 21 h 142"/>
                <a:gd name="T16" fmla="*/ 912 w 208"/>
                <a:gd name="T17" fmla="*/ 13 h 142"/>
                <a:gd name="T18" fmla="*/ 1006 w 208"/>
                <a:gd name="T19" fmla="*/ 0 h 142"/>
                <a:gd name="T20" fmla="*/ 1072 w 208"/>
                <a:gd name="T21" fmla="*/ 4 h 142"/>
                <a:gd name="T22" fmla="*/ 1171 w 208"/>
                <a:gd name="T23" fmla="*/ 23 h 142"/>
                <a:gd name="T24" fmla="*/ 1167 w 208"/>
                <a:gd name="T25" fmla="*/ 30 h 142"/>
                <a:gd name="T26" fmla="*/ 1171 w 208"/>
                <a:gd name="T27" fmla="*/ 56 h 142"/>
                <a:gd name="T28" fmla="*/ 1248 w 208"/>
                <a:gd name="T29" fmla="*/ 63 h 142"/>
                <a:gd name="T30" fmla="*/ 1372 w 208"/>
                <a:gd name="T31" fmla="*/ 69 h 142"/>
                <a:gd name="T32" fmla="*/ 1476 w 208"/>
                <a:gd name="T33" fmla="*/ 82 h 142"/>
                <a:gd name="T34" fmla="*/ 1528 w 208"/>
                <a:gd name="T35" fmla="*/ 89 h 142"/>
                <a:gd name="T36" fmla="*/ 1574 w 208"/>
                <a:gd name="T37" fmla="*/ 100 h 142"/>
                <a:gd name="T38" fmla="*/ 1666 w 208"/>
                <a:gd name="T39" fmla="*/ 123 h 142"/>
                <a:gd name="T40" fmla="*/ 1601 w 208"/>
                <a:gd name="T41" fmla="*/ 131 h 142"/>
                <a:gd name="T42" fmla="*/ 1528 w 208"/>
                <a:gd name="T43" fmla="*/ 123 h 142"/>
                <a:gd name="T44" fmla="*/ 1416 w 208"/>
                <a:gd name="T45" fmla="*/ 117 h 142"/>
                <a:gd name="T46" fmla="*/ 1372 w 208"/>
                <a:gd name="T47" fmla="*/ 131 h 142"/>
                <a:gd name="T48" fmla="*/ 1285 w 208"/>
                <a:gd name="T49" fmla="*/ 131 h 142"/>
                <a:gd name="T50" fmla="*/ 1167 w 208"/>
                <a:gd name="T51" fmla="*/ 139 h 142"/>
                <a:gd name="T52" fmla="*/ 1061 w 208"/>
                <a:gd name="T53" fmla="*/ 139 h 142"/>
                <a:gd name="T54" fmla="*/ 963 w 208"/>
                <a:gd name="T55" fmla="*/ 150 h 142"/>
                <a:gd name="T56" fmla="*/ 797 w 208"/>
                <a:gd name="T57" fmla="*/ 148 h 142"/>
                <a:gd name="T58" fmla="*/ 637 w 208"/>
                <a:gd name="T59" fmla="*/ 123 h 142"/>
                <a:gd name="T60" fmla="*/ 505 w 208"/>
                <a:gd name="T61" fmla="*/ 148 h 142"/>
                <a:gd name="T62" fmla="*/ 505 w 208"/>
                <a:gd name="T63" fmla="*/ 158 h 142"/>
                <a:gd name="T64" fmla="*/ 370 w 208"/>
                <a:gd name="T65" fmla="*/ 158 h 142"/>
                <a:gd name="T66" fmla="*/ 257 w 208"/>
                <a:gd name="T67" fmla="*/ 171 h 142"/>
                <a:gd name="T68" fmla="*/ 179 w 208"/>
                <a:gd name="T69" fmla="*/ 178 h 142"/>
                <a:gd name="T70" fmla="*/ 179 w 208"/>
                <a:gd name="T71" fmla="*/ 169 h 142"/>
                <a:gd name="T72" fmla="*/ 74 w 208"/>
                <a:gd name="T73" fmla="*/ 148 h 142"/>
                <a:gd name="T74" fmla="*/ 3 w 208"/>
                <a:gd name="T75" fmla="*/ 123 h 142"/>
                <a:gd name="T76" fmla="*/ 0 w 208"/>
                <a:gd name="T77" fmla="*/ 100 h 142"/>
                <a:gd name="T78" fmla="*/ 74 w 208"/>
                <a:gd name="T79" fmla="*/ 82 h 14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8"/>
                <a:gd name="T121" fmla="*/ 0 h 142"/>
                <a:gd name="T122" fmla="*/ 208 w 208"/>
                <a:gd name="T123" fmla="*/ 142 h 14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8" h="142">
                  <a:moveTo>
                    <a:pt x="16" y="58"/>
                  </a:moveTo>
                  <a:lnTo>
                    <a:pt x="22" y="54"/>
                  </a:lnTo>
                  <a:lnTo>
                    <a:pt x="31" y="49"/>
                  </a:lnTo>
                  <a:lnTo>
                    <a:pt x="33" y="51"/>
                  </a:lnTo>
                  <a:lnTo>
                    <a:pt x="39" y="49"/>
                  </a:lnTo>
                  <a:lnTo>
                    <a:pt x="48" y="45"/>
                  </a:lnTo>
                  <a:lnTo>
                    <a:pt x="52" y="49"/>
                  </a:lnTo>
                  <a:lnTo>
                    <a:pt x="57" y="45"/>
                  </a:lnTo>
                  <a:lnTo>
                    <a:pt x="61" y="45"/>
                  </a:lnTo>
                  <a:lnTo>
                    <a:pt x="72" y="43"/>
                  </a:lnTo>
                  <a:lnTo>
                    <a:pt x="72" y="36"/>
                  </a:lnTo>
                  <a:lnTo>
                    <a:pt x="72" y="34"/>
                  </a:lnTo>
                  <a:lnTo>
                    <a:pt x="76" y="30"/>
                  </a:lnTo>
                  <a:lnTo>
                    <a:pt x="91" y="28"/>
                  </a:lnTo>
                  <a:lnTo>
                    <a:pt x="98" y="23"/>
                  </a:lnTo>
                  <a:lnTo>
                    <a:pt x="100" y="21"/>
                  </a:lnTo>
                  <a:lnTo>
                    <a:pt x="106" y="15"/>
                  </a:lnTo>
                  <a:lnTo>
                    <a:pt x="113" y="13"/>
                  </a:lnTo>
                  <a:lnTo>
                    <a:pt x="117" y="4"/>
                  </a:lnTo>
                  <a:lnTo>
                    <a:pt x="126" y="0"/>
                  </a:lnTo>
                  <a:lnTo>
                    <a:pt x="132" y="0"/>
                  </a:lnTo>
                  <a:lnTo>
                    <a:pt x="134" y="4"/>
                  </a:lnTo>
                  <a:lnTo>
                    <a:pt x="145" y="15"/>
                  </a:lnTo>
                  <a:lnTo>
                    <a:pt x="147" y="23"/>
                  </a:lnTo>
                  <a:lnTo>
                    <a:pt x="141" y="28"/>
                  </a:lnTo>
                  <a:lnTo>
                    <a:pt x="145" y="30"/>
                  </a:lnTo>
                  <a:lnTo>
                    <a:pt x="145" y="34"/>
                  </a:lnTo>
                  <a:lnTo>
                    <a:pt x="147" y="36"/>
                  </a:lnTo>
                  <a:lnTo>
                    <a:pt x="156" y="36"/>
                  </a:lnTo>
                  <a:lnTo>
                    <a:pt x="156" y="43"/>
                  </a:lnTo>
                  <a:lnTo>
                    <a:pt x="164" y="43"/>
                  </a:lnTo>
                  <a:lnTo>
                    <a:pt x="171" y="49"/>
                  </a:lnTo>
                  <a:lnTo>
                    <a:pt x="175" y="62"/>
                  </a:lnTo>
                  <a:lnTo>
                    <a:pt x="184" y="62"/>
                  </a:lnTo>
                  <a:lnTo>
                    <a:pt x="186" y="69"/>
                  </a:lnTo>
                  <a:lnTo>
                    <a:pt x="190" y="69"/>
                  </a:lnTo>
                  <a:lnTo>
                    <a:pt x="193" y="69"/>
                  </a:lnTo>
                  <a:lnTo>
                    <a:pt x="197" y="80"/>
                  </a:lnTo>
                  <a:lnTo>
                    <a:pt x="205" y="84"/>
                  </a:lnTo>
                  <a:lnTo>
                    <a:pt x="208" y="95"/>
                  </a:lnTo>
                  <a:lnTo>
                    <a:pt x="201" y="95"/>
                  </a:lnTo>
                  <a:lnTo>
                    <a:pt x="199" y="99"/>
                  </a:lnTo>
                  <a:lnTo>
                    <a:pt x="193" y="99"/>
                  </a:lnTo>
                  <a:lnTo>
                    <a:pt x="190" y="95"/>
                  </a:lnTo>
                  <a:lnTo>
                    <a:pt x="184" y="95"/>
                  </a:lnTo>
                  <a:lnTo>
                    <a:pt x="177" y="92"/>
                  </a:lnTo>
                  <a:lnTo>
                    <a:pt x="175" y="95"/>
                  </a:lnTo>
                  <a:lnTo>
                    <a:pt x="171" y="99"/>
                  </a:lnTo>
                  <a:lnTo>
                    <a:pt x="164" y="99"/>
                  </a:lnTo>
                  <a:lnTo>
                    <a:pt x="160" y="99"/>
                  </a:lnTo>
                  <a:lnTo>
                    <a:pt x="149" y="101"/>
                  </a:lnTo>
                  <a:lnTo>
                    <a:pt x="145" y="103"/>
                  </a:lnTo>
                  <a:lnTo>
                    <a:pt x="134" y="103"/>
                  </a:lnTo>
                  <a:lnTo>
                    <a:pt x="132" y="103"/>
                  </a:lnTo>
                  <a:lnTo>
                    <a:pt x="126" y="114"/>
                  </a:lnTo>
                  <a:lnTo>
                    <a:pt x="119" y="110"/>
                  </a:lnTo>
                  <a:lnTo>
                    <a:pt x="110" y="110"/>
                  </a:lnTo>
                  <a:lnTo>
                    <a:pt x="100" y="108"/>
                  </a:lnTo>
                  <a:lnTo>
                    <a:pt x="91" y="103"/>
                  </a:lnTo>
                  <a:lnTo>
                    <a:pt x="80" y="95"/>
                  </a:lnTo>
                  <a:lnTo>
                    <a:pt x="72" y="101"/>
                  </a:lnTo>
                  <a:lnTo>
                    <a:pt x="63" y="108"/>
                  </a:lnTo>
                  <a:lnTo>
                    <a:pt x="63" y="110"/>
                  </a:lnTo>
                  <a:lnTo>
                    <a:pt x="63" y="118"/>
                  </a:lnTo>
                  <a:lnTo>
                    <a:pt x="54" y="118"/>
                  </a:lnTo>
                  <a:lnTo>
                    <a:pt x="46" y="118"/>
                  </a:lnTo>
                  <a:lnTo>
                    <a:pt x="33" y="118"/>
                  </a:lnTo>
                  <a:lnTo>
                    <a:pt x="31" y="131"/>
                  </a:lnTo>
                  <a:lnTo>
                    <a:pt x="24" y="142"/>
                  </a:lnTo>
                  <a:lnTo>
                    <a:pt x="22" y="138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9" y="116"/>
                  </a:lnTo>
                  <a:lnTo>
                    <a:pt x="9" y="108"/>
                  </a:lnTo>
                  <a:lnTo>
                    <a:pt x="3" y="103"/>
                  </a:lnTo>
                  <a:lnTo>
                    <a:pt x="3" y="95"/>
                  </a:lnTo>
                  <a:lnTo>
                    <a:pt x="0" y="92"/>
                  </a:lnTo>
                  <a:lnTo>
                    <a:pt x="0" y="80"/>
                  </a:lnTo>
                  <a:lnTo>
                    <a:pt x="3" y="77"/>
                  </a:lnTo>
                  <a:lnTo>
                    <a:pt x="9" y="62"/>
                  </a:lnTo>
                  <a:lnTo>
                    <a:pt x="16" y="5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2" name="Freeform 206"/>
            <p:cNvSpPr>
              <a:spLocks noChangeAspect="1"/>
            </p:cNvSpPr>
            <p:nvPr/>
          </p:nvSpPr>
          <p:spPr bwMode="auto">
            <a:xfrm>
              <a:off x="3082" y="3175"/>
              <a:ext cx="41" cy="40"/>
            </a:xfrm>
            <a:custGeom>
              <a:avLst/>
              <a:gdLst>
                <a:gd name="T0" fmla="*/ 83 w 37"/>
                <a:gd name="T1" fmla="*/ 7 h 39"/>
                <a:gd name="T2" fmla="*/ 250 w 37"/>
                <a:gd name="T3" fmla="*/ 0 h 39"/>
                <a:gd name="T4" fmla="*/ 305 w 37"/>
                <a:gd name="T5" fmla="*/ 5 h 39"/>
                <a:gd name="T6" fmla="*/ 350 w 37"/>
                <a:gd name="T7" fmla="*/ 13 h 39"/>
                <a:gd name="T8" fmla="*/ 340 w 37"/>
                <a:gd name="T9" fmla="*/ 40 h 39"/>
                <a:gd name="T10" fmla="*/ 340 w 37"/>
                <a:gd name="T11" fmla="*/ 46 h 39"/>
                <a:gd name="T12" fmla="*/ 171 w 37"/>
                <a:gd name="T13" fmla="*/ 48 h 39"/>
                <a:gd name="T14" fmla="*/ 148 w 37"/>
                <a:gd name="T15" fmla="*/ 59 h 39"/>
                <a:gd name="T16" fmla="*/ 68 w 37"/>
                <a:gd name="T17" fmla="*/ 55 h 39"/>
                <a:gd name="T18" fmla="*/ 3 w 37"/>
                <a:gd name="T19" fmla="*/ 44 h 39"/>
                <a:gd name="T20" fmla="*/ 0 w 37"/>
                <a:gd name="T21" fmla="*/ 40 h 39"/>
                <a:gd name="T22" fmla="*/ 3 w 37"/>
                <a:gd name="T23" fmla="*/ 15 h 39"/>
                <a:gd name="T24" fmla="*/ 83 w 37"/>
                <a:gd name="T25" fmla="*/ 7 h 3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7"/>
                <a:gd name="T40" fmla="*/ 0 h 39"/>
                <a:gd name="T41" fmla="*/ 37 w 37"/>
                <a:gd name="T42" fmla="*/ 39 h 3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7" h="39">
                  <a:moveTo>
                    <a:pt x="9" y="7"/>
                  </a:moveTo>
                  <a:lnTo>
                    <a:pt x="26" y="0"/>
                  </a:lnTo>
                  <a:lnTo>
                    <a:pt x="31" y="5"/>
                  </a:lnTo>
                  <a:lnTo>
                    <a:pt x="37" y="13"/>
                  </a:lnTo>
                  <a:lnTo>
                    <a:pt x="35" y="20"/>
                  </a:lnTo>
                  <a:lnTo>
                    <a:pt x="35" y="26"/>
                  </a:lnTo>
                  <a:lnTo>
                    <a:pt x="18" y="28"/>
                  </a:lnTo>
                  <a:lnTo>
                    <a:pt x="15" y="39"/>
                  </a:lnTo>
                  <a:lnTo>
                    <a:pt x="7" y="35"/>
                  </a:lnTo>
                  <a:lnTo>
                    <a:pt x="3" y="24"/>
                  </a:lnTo>
                  <a:lnTo>
                    <a:pt x="0" y="20"/>
                  </a:lnTo>
                  <a:lnTo>
                    <a:pt x="3" y="15"/>
                  </a:lnTo>
                  <a:lnTo>
                    <a:pt x="9" y="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3" name="Freeform 276"/>
            <p:cNvSpPr>
              <a:spLocks noChangeAspect="1"/>
            </p:cNvSpPr>
            <p:nvPr/>
          </p:nvSpPr>
          <p:spPr bwMode="auto">
            <a:xfrm>
              <a:off x="4609" y="2881"/>
              <a:ext cx="716" cy="600"/>
            </a:xfrm>
            <a:custGeom>
              <a:avLst/>
              <a:gdLst>
                <a:gd name="T0" fmla="*/ 3801 w 650"/>
                <a:gd name="T1" fmla="*/ 816 h 589"/>
                <a:gd name="T2" fmla="*/ 3688 w 650"/>
                <a:gd name="T3" fmla="*/ 812 h 589"/>
                <a:gd name="T4" fmla="*/ 3357 w 650"/>
                <a:gd name="T5" fmla="*/ 824 h 589"/>
                <a:gd name="T6" fmla="*/ 3150 w 650"/>
                <a:gd name="T7" fmla="*/ 794 h 589"/>
                <a:gd name="T8" fmla="*/ 3117 w 650"/>
                <a:gd name="T9" fmla="*/ 719 h 589"/>
                <a:gd name="T10" fmla="*/ 3048 w 650"/>
                <a:gd name="T11" fmla="*/ 696 h 589"/>
                <a:gd name="T12" fmla="*/ 2808 w 650"/>
                <a:gd name="T13" fmla="*/ 706 h 589"/>
                <a:gd name="T14" fmla="*/ 3025 w 650"/>
                <a:gd name="T15" fmla="*/ 644 h 589"/>
                <a:gd name="T16" fmla="*/ 2917 w 650"/>
                <a:gd name="T17" fmla="*/ 654 h 589"/>
                <a:gd name="T18" fmla="*/ 2673 w 650"/>
                <a:gd name="T19" fmla="*/ 693 h 589"/>
                <a:gd name="T20" fmla="*/ 2596 w 650"/>
                <a:gd name="T21" fmla="*/ 637 h 589"/>
                <a:gd name="T22" fmla="*/ 2546 w 650"/>
                <a:gd name="T23" fmla="*/ 607 h 589"/>
                <a:gd name="T24" fmla="*/ 2230 w 650"/>
                <a:gd name="T25" fmla="*/ 577 h 589"/>
                <a:gd name="T26" fmla="*/ 1342 w 650"/>
                <a:gd name="T27" fmla="*/ 607 h 589"/>
                <a:gd name="T28" fmla="*/ 1084 w 650"/>
                <a:gd name="T29" fmla="*/ 644 h 589"/>
                <a:gd name="T30" fmla="*/ 697 w 650"/>
                <a:gd name="T31" fmla="*/ 637 h 589"/>
                <a:gd name="T32" fmla="*/ 315 w 650"/>
                <a:gd name="T33" fmla="*/ 672 h 589"/>
                <a:gd name="T34" fmla="*/ 4 w 650"/>
                <a:gd name="T35" fmla="*/ 625 h 589"/>
                <a:gd name="T36" fmla="*/ 206 w 650"/>
                <a:gd name="T37" fmla="*/ 577 h 589"/>
                <a:gd name="T38" fmla="*/ 74 w 650"/>
                <a:gd name="T39" fmla="*/ 462 h 589"/>
                <a:gd name="T40" fmla="*/ 45 w 650"/>
                <a:gd name="T41" fmla="*/ 415 h 589"/>
                <a:gd name="T42" fmla="*/ 74 w 650"/>
                <a:gd name="T43" fmla="*/ 402 h 589"/>
                <a:gd name="T44" fmla="*/ 74 w 650"/>
                <a:gd name="T45" fmla="*/ 353 h 589"/>
                <a:gd name="T46" fmla="*/ 219 w 650"/>
                <a:gd name="T47" fmla="*/ 282 h 589"/>
                <a:gd name="T48" fmla="*/ 458 w 650"/>
                <a:gd name="T49" fmla="*/ 271 h 589"/>
                <a:gd name="T50" fmla="*/ 887 w 650"/>
                <a:gd name="T51" fmla="*/ 241 h 589"/>
                <a:gd name="T52" fmla="*/ 1348 w 650"/>
                <a:gd name="T53" fmla="*/ 183 h 589"/>
                <a:gd name="T54" fmla="*/ 1512 w 650"/>
                <a:gd name="T55" fmla="*/ 149 h 589"/>
                <a:gd name="T56" fmla="*/ 1549 w 650"/>
                <a:gd name="T57" fmla="*/ 135 h 589"/>
                <a:gd name="T58" fmla="*/ 1690 w 650"/>
                <a:gd name="T59" fmla="*/ 141 h 589"/>
                <a:gd name="T60" fmla="*/ 1754 w 650"/>
                <a:gd name="T61" fmla="*/ 124 h 589"/>
                <a:gd name="T62" fmla="*/ 1857 w 650"/>
                <a:gd name="T63" fmla="*/ 85 h 589"/>
                <a:gd name="T64" fmla="*/ 2046 w 650"/>
                <a:gd name="T65" fmla="*/ 70 h 589"/>
                <a:gd name="T66" fmla="*/ 2230 w 650"/>
                <a:gd name="T67" fmla="*/ 101 h 589"/>
                <a:gd name="T68" fmla="*/ 2367 w 650"/>
                <a:gd name="T69" fmla="*/ 105 h 589"/>
                <a:gd name="T70" fmla="*/ 2462 w 650"/>
                <a:gd name="T71" fmla="*/ 68 h 589"/>
                <a:gd name="T72" fmla="*/ 2596 w 650"/>
                <a:gd name="T73" fmla="*/ 24 h 589"/>
                <a:gd name="T74" fmla="*/ 2712 w 650"/>
                <a:gd name="T75" fmla="*/ 9 h 589"/>
                <a:gd name="T76" fmla="*/ 2975 w 650"/>
                <a:gd name="T77" fmla="*/ 20 h 589"/>
                <a:gd name="T78" fmla="*/ 3242 w 650"/>
                <a:gd name="T79" fmla="*/ 24 h 589"/>
                <a:gd name="T80" fmla="*/ 3348 w 650"/>
                <a:gd name="T81" fmla="*/ 24 h 589"/>
                <a:gd name="T82" fmla="*/ 3319 w 650"/>
                <a:gd name="T83" fmla="*/ 59 h 589"/>
                <a:gd name="T84" fmla="*/ 3150 w 650"/>
                <a:gd name="T85" fmla="*/ 105 h 589"/>
                <a:gd name="T86" fmla="*/ 3451 w 650"/>
                <a:gd name="T87" fmla="*/ 155 h 589"/>
                <a:gd name="T88" fmla="*/ 3815 w 650"/>
                <a:gd name="T89" fmla="*/ 180 h 589"/>
                <a:gd name="T90" fmla="*/ 3977 w 650"/>
                <a:gd name="T91" fmla="*/ 63 h 589"/>
                <a:gd name="T92" fmla="*/ 4085 w 650"/>
                <a:gd name="T93" fmla="*/ 9 h 589"/>
                <a:gd name="T94" fmla="*/ 4210 w 650"/>
                <a:gd name="T95" fmla="*/ 24 h 589"/>
                <a:gd name="T96" fmla="*/ 4251 w 650"/>
                <a:gd name="T97" fmla="*/ 76 h 589"/>
                <a:gd name="T98" fmla="*/ 4446 w 650"/>
                <a:gd name="T99" fmla="*/ 115 h 589"/>
                <a:gd name="T100" fmla="*/ 4517 w 650"/>
                <a:gd name="T101" fmla="*/ 201 h 589"/>
                <a:gd name="T102" fmla="*/ 4695 w 650"/>
                <a:gd name="T103" fmla="*/ 241 h 589"/>
                <a:gd name="T104" fmla="*/ 4775 w 650"/>
                <a:gd name="T105" fmla="*/ 277 h 589"/>
                <a:gd name="T106" fmla="*/ 4947 w 650"/>
                <a:gd name="T107" fmla="*/ 332 h 589"/>
                <a:gd name="T108" fmla="*/ 5046 w 650"/>
                <a:gd name="T109" fmla="*/ 353 h 589"/>
                <a:gd name="T110" fmla="*/ 5185 w 650"/>
                <a:gd name="T111" fmla="*/ 393 h 589"/>
                <a:gd name="T112" fmla="*/ 5217 w 650"/>
                <a:gd name="T113" fmla="*/ 477 h 589"/>
                <a:gd name="T114" fmla="*/ 4976 w 650"/>
                <a:gd name="T115" fmla="*/ 625 h 589"/>
                <a:gd name="T116" fmla="*/ 4775 w 650"/>
                <a:gd name="T117" fmla="*/ 685 h 589"/>
                <a:gd name="T118" fmla="*/ 4294 w 650"/>
                <a:gd name="T119" fmla="*/ 812 h 589"/>
                <a:gd name="T120" fmla="*/ 3879 w 650"/>
                <a:gd name="T121" fmla="*/ 853 h 5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50"/>
                <a:gd name="T184" fmla="*/ 0 h 589"/>
                <a:gd name="T185" fmla="*/ 650 w 650"/>
                <a:gd name="T186" fmla="*/ 589 h 5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50" h="589">
                  <a:moveTo>
                    <a:pt x="477" y="589"/>
                  </a:moveTo>
                  <a:lnTo>
                    <a:pt x="470" y="579"/>
                  </a:lnTo>
                  <a:lnTo>
                    <a:pt x="468" y="574"/>
                  </a:lnTo>
                  <a:lnTo>
                    <a:pt x="468" y="570"/>
                  </a:lnTo>
                  <a:lnTo>
                    <a:pt x="468" y="563"/>
                  </a:lnTo>
                  <a:lnTo>
                    <a:pt x="460" y="570"/>
                  </a:lnTo>
                  <a:lnTo>
                    <a:pt x="455" y="570"/>
                  </a:lnTo>
                  <a:lnTo>
                    <a:pt x="462" y="563"/>
                  </a:lnTo>
                  <a:lnTo>
                    <a:pt x="462" y="559"/>
                  </a:lnTo>
                  <a:lnTo>
                    <a:pt x="453" y="561"/>
                  </a:lnTo>
                  <a:lnTo>
                    <a:pt x="455" y="561"/>
                  </a:lnTo>
                  <a:lnTo>
                    <a:pt x="455" y="568"/>
                  </a:lnTo>
                  <a:lnTo>
                    <a:pt x="434" y="579"/>
                  </a:lnTo>
                  <a:lnTo>
                    <a:pt x="425" y="570"/>
                  </a:lnTo>
                  <a:lnTo>
                    <a:pt x="414" y="568"/>
                  </a:lnTo>
                  <a:lnTo>
                    <a:pt x="410" y="561"/>
                  </a:lnTo>
                  <a:lnTo>
                    <a:pt x="408" y="563"/>
                  </a:lnTo>
                  <a:lnTo>
                    <a:pt x="397" y="559"/>
                  </a:lnTo>
                  <a:lnTo>
                    <a:pt x="391" y="555"/>
                  </a:lnTo>
                  <a:lnTo>
                    <a:pt x="388" y="548"/>
                  </a:lnTo>
                  <a:lnTo>
                    <a:pt x="382" y="540"/>
                  </a:lnTo>
                  <a:lnTo>
                    <a:pt x="382" y="531"/>
                  </a:lnTo>
                  <a:lnTo>
                    <a:pt x="388" y="518"/>
                  </a:lnTo>
                  <a:lnTo>
                    <a:pt x="380" y="499"/>
                  </a:lnTo>
                  <a:lnTo>
                    <a:pt x="384" y="497"/>
                  </a:lnTo>
                  <a:lnTo>
                    <a:pt x="384" y="494"/>
                  </a:lnTo>
                  <a:lnTo>
                    <a:pt x="375" y="494"/>
                  </a:lnTo>
                  <a:lnTo>
                    <a:pt x="367" y="497"/>
                  </a:lnTo>
                  <a:lnTo>
                    <a:pt x="373" y="490"/>
                  </a:lnTo>
                  <a:lnTo>
                    <a:pt x="375" y="481"/>
                  </a:lnTo>
                  <a:lnTo>
                    <a:pt x="373" y="464"/>
                  </a:lnTo>
                  <a:lnTo>
                    <a:pt x="367" y="468"/>
                  </a:lnTo>
                  <a:lnTo>
                    <a:pt x="360" y="484"/>
                  </a:lnTo>
                  <a:lnTo>
                    <a:pt x="354" y="484"/>
                  </a:lnTo>
                  <a:lnTo>
                    <a:pt x="347" y="488"/>
                  </a:lnTo>
                  <a:lnTo>
                    <a:pt x="350" y="481"/>
                  </a:lnTo>
                  <a:lnTo>
                    <a:pt x="358" y="481"/>
                  </a:lnTo>
                  <a:lnTo>
                    <a:pt x="360" y="466"/>
                  </a:lnTo>
                  <a:lnTo>
                    <a:pt x="369" y="453"/>
                  </a:lnTo>
                  <a:lnTo>
                    <a:pt x="373" y="445"/>
                  </a:lnTo>
                  <a:lnTo>
                    <a:pt x="375" y="440"/>
                  </a:lnTo>
                  <a:lnTo>
                    <a:pt x="375" y="425"/>
                  </a:lnTo>
                  <a:lnTo>
                    <a:pt x="373" y="438"/>
                  </a:lnTo>
                  <a:lnTo>
                    <a:pt x="369" y="438"/>
                  </a:lnTo>
                  <a:lnTo>
                    <a:pt x="360" y="451"/>
                  </a:lnTo>
                  <a:lnTo>
                    <a:pt x="350" y="456"/>
                  </a:lnTo>
                  <a:lnTo>
                    <a:pt x="339" y="466"/>
                  </a:lnTo>
                  <a:lnTo>
                    <a:pt x="332" y="473"/>
                  </a:lnTo>
                  <a:lnTo>
                    <a:pt x="334" y="479"/>
                  </a:lnTo>
                  <a:lnTo>
                    <a:pt x="330" y="479"/>
                  </a:lnTo>
                  <a:lnTo>
                    <a:pt x="328" y="473"/>
                  </a:lnTo>
                  <a:lnTo>
                    <a:pt x="328" y="468"/>
                  </a:lnTo>
                  <a:lnTo>
                    <a:pt x="328" y="460"/>
                  </a:lnTo>
                  <a:lnTo>
                    <a:pt x="324" y="451"/>
                  </a:lnTo>
                  <a:lnTo>
                    <a:pt x="319" y="440"/>
                  </a:lnTo>
                  <a:lnTo>
                    <a:pt x="315" y="438"/>
                  </a:lnTo>
                  <a:lnTo>
                    <a:pt x="315" y="430"/>
                  </a:lnTo>
                  <a:lnTo>
                    <a:pt x="317" y="425"/>
                  </a:lnTo>
                  <a:lnTo>
                    <a:pt x="311" y="423"/>
                  </a:lnTo>
                  <a:lnTo>
                    <a:pt x="315" y="419"/>
                  </a:lnTo>
                  <a:lnTo>
                    <a:pt x="309" y="415"/>
                  </a:lnTo>
                  <a:lnTo>
                    <a:pt x="302" y="415"/>
                  </a:lnTo>
                  <a:lnTo>
                    <a:pt x="296" y="410"/>
                  </a:lnTo>
                  <a:lnTo>
                    <a:pt x="289" y="410"/>
                  </a:lnTo>
                  <a:lnTo>
                    <a:pt x="274" y="399"/>
                  </a:lnTo>
                  <a:lnTo>
                    <a:pt x="259" y="399"/>
                  </a:lnTo>
                  <a:lnTo>
                    <a:pt x="231" y="404"/>
                  </a:lnTo>
                  <a:lnTo>
                    <a:pt x="203" y="415"/>
                  </a:lnTo>
                  <a:lnTo>
                    <a:pt x="188" y="410"/>
                  </a:lnTo>
                  <a:lnTo>
                    <a:pt x="164" y="419"/>
                  </a:lnTo>
                  <a:lnTo>
                    <a:pt x="153" y="425"/>
                  </a:lnTo>
                  <a:lnTo>
                    <a:pt x="149" y="434"/>
                  </a:lnTo>
                  <a:lnTo>
                    <a:pt x="145" y="440"/>
                  </a:lnTo>
                  <a:lnTo>
                    <a:pt x="136" y="445"/>
                  </a:lnTo>
                  <a:lnTo>
                    <a:pt x="134" y="445"/>
                  </a:lnTo>
                  <a:lnTo>
                    <a:pt x="123" y="445"/>
                  </a:lnTo>
                  <a:lnTo>
                    <a:pt x="119" y="447"/>
                  </a:lnTo>
                  <a:lnTo>
                    <a:pt x="114" y="440"/>
                  </a:lnTo>
                  <a:lnTo>
                    <a:pt x="95" y="438"/>
                  </a:lnTo>
                  <a:lnTo>
                    <a:pt x="86" y="440"/>
                  </a:lnTo>
                  <a:lnTo>
                    <a:pt x="71" y="447"/>
                  </a:lnTo>
                  <a:lnTo>
                    <a:pt x="69" y="451"/>
                  </a:lnTo>
                  <a:lnTo>
                    <a:pt x="58" y="453"/>
                  </a:lnTo>
                  <a:lnTo>
                    <a:pt x="45" y="460"/>
                  </a:lnTo>
                  <a:lnTo>
                    <a:pt x="39" y="464"/>
                  </a:lnTo>
                  <a:lnTo>
                    <a:pt x="26" y="464"/>
                  </a:lnTo>
                  <a:lnTo>
                    <a:pt x="15" y="456"/>
                  </a:lnTo>
                  <a:lnTo>
                    <a:pt x="9" y="447"/>
                  </a:lnTo>
                  <a:lnTo>
                    <a:pt x="0" y="445"/>
                  </a:lnTo>
                  <a:lnTo>
                    <a:pt x="4" y="432"/>
                  </a:lnTo>
                  <a:lnTo>
                    <a:pt x="6" y="432"/>
                  </a:lnTo>
                  <a:lnTo>
                    <a:pt x="13" y="430"/>
                  </a:lnTo>
                  <a:lnTo>
                    <a:pt x="15" y="415"/>
                  </a:lnTo>
                  <a:lnTo>
                    <a:pt x="19" y="415"/>
                  </a:lnTo>
                  <a:lnTo>
                    <a:pt x="26" y="399"/>
                  </a:lnTo>
                  <a:lnTo>
                    <a:pt x="24" y="384"/>
                  </a:lnTo>
                  <a:lnTo>
                    <a:pt x="15" y="361"/>
                  </a:lnTo>
                  <a:lnTo>
                    <a:pt x="19" y="339"/>
                  </a:lnTo>
                  <a:lnTo>
                    <a:pt x="15" y="328"/>
                  </a:lnTo>
                  <a:lnTo>
                    <a:pt x="9" y="320"/>
                  </a:lnTo>
                  <a:lnTo>
                    <a:pt x="13" y="309"/>
                  </a:lnTo>
                  <a:lnTo>
                    <a:pt x="6" y="296"/>
                  </a:lnTo>
                  <a:lnTo>
                    <a:pt x="0" y="279"/>
                  </a:lnTo>
                  <a:lnTo>
                    <a:pt x="4" y="279"/>
                  </a:lnTo>
                  <a:lnTo>
                    <a:pt x="6" y="287"/>
                  </a:lnTo>
                  <a:lnTo>
                    <a:pt x="9" y="287"/>
                  </a:lnTo>
                  <a:lnTo>
                    <a:pt x="6" y="279"/>
                  </a:lnTo>
                  <a:lnTo>
                    <a:pt x="6" y="270"/>
                  </a:lnTo>
                  <a:lnTo>
                    <a:pt x="9" y="272"/>
                  </a:lnTo>
                  <a:lnTo>
                    <a:pt x="9" y="279"/>
                  </a:lnTo>
                  <a:lnTo>
                    <a:pt x="13" y="279"/>
                  </a:lnTo>
                  <a:lnTo>
                    <a:pt x="15" y="285"/>
                  </a:lnTo>
                  <a:lnTo>
                    <a:pt x="15" y="272"/>
                  </a:lnTo>
                  <a:lnTo>
                    <a:pt x="13" y="266"/>
                  </a:lnTo>
                  <a:lnTo>
                    <a:pt x="9" y="244"/>
                  </a:lnTo>
                  <a:lnTo>
                    <a:pt x="9" y="238"/>
                  </a:lnTo>
                  <a:lnTo>
                    <a:pt x="15" y="225"/>
                  </a:lnTo>
                  <a:lnTo>
                    <a:pt x="19" y="214"/>
                  </a:lnTo>
                  <a:lnTo>
                    <a:pt x="24" y="205"/>
                  </a:lnTo>
                  <a:lnTo>
                    <a:pt x="28" y="194"/>
                  </a:lnTo>
                  <a:lnTo>
                    <a:pt x="26" y="207"/>
                  </a:lnTo>
                  <a:lnTo>
                    <a:pt x="28" y="207"/>
                  </a:lnTo>
                  <a:lnTo>
                    <a:pt x="34" y="194"/>
                  </a:lnTo>
                  <a:lnTo>
                    <a:pt x="43" y="192"/>
                  </a:lnTo>
                  <a:lnTo>
                    <a:pt x="56" y="186"/>
                  </a:lnTo>
                  <a:lnTo>
                    <a:pt x="73" y="175"/>
                  </a:lnTo>
                  <a:lnTo>
                    <a:pt x="84" y="175"/>
                  </a:lnTo>
                  <a:lnTo>
                    <a:pt x="93" y="168"/>
                  </a:lnTo>
                  <a:lnTo>
                    <a:pt x="104" y="168"/>
                  </a:lnTo>
                  <a:lnTo>
                    <a:pt x="110" y="168"/>
                  </a:lnTo>
                  <a:lnTo>
                    <a:pt x="121" y="164"/>
                  </a:lnTo>
                  <a:lnTo>
                    <a:pt x="149" y="153"/>
                  </a:lnTo>
                  <a:lnTo>
                    <a:pt x="157" y="136"/>
                  </a:lnTo>
                  <a:lnTo>
                    <a:pt x="166" y="134"/>
                  </a:lnTo>
                  <a:lnTo>
                    <a:pt x="166" y="127"/>
                  </a:lnTo>
                  <a:lnTo>
                    <a:pt x="166" y="119"/>
                  </a:lnTo>
                  <a:lnTo>
                    <a:pt x="175" y="104"/>
                  </a:lnTo>
                  <a:lnTo>
                    <a:pt x="179" y="99"/>
                  </a:lnTo>
                  <a:lnTo>
                    <a:pt x="183" y="99"/>
                  </a:lnTo>
                  <a:lnTo>
                    <a:pt x="186" y="104"/>
                  </a:lnTo>
                  <a:lnTo>
                    <a:pt x="190" y="119"/>
                  </a:lnTo>
                  <a:lnTo>
                    <a:pt x="190" y="108"/>
                  </a:lnTo>
                  <a:lnTo>
                    <a:pt x="198" y="112"/>
                  </a:lnTo>
                  <a:lnTo>
                    <a:pt x="194" y="104"/>
                  </a:lnTo>
                  <a:lnTo>
                    <a:pt x="190" y="95"/>
                  </a:lnTo>
                  <a:lnTo>
                    <a:pt x="194" y="93"/>
                  </a:lnTo>
                  <a:lnTo>
                    <a:pt x="198" y="99"/>
                  </a:lnTo>
                  <a:lnTo>
                    <a:pt x="201" y="95"/>
                  </a:lnTo>
                  <a:lnTo>
                    <a:pt x="203" y="99"/>
                  </a:lnTo>
                  <a:lnTo>
                    <a:pt x="209" y="99"/>
                  </a:lnTo>
                  <a:lnTo>
                    <a:pt x="205" y="99"/>
                  </a:lnTo>
                  <a:lnTo>
                    <a:pt x="205" y="93"/>
                  </a:lnTo>
                  <a:lnTo>
                    <a:pt x="205" y="89"/>
                  </a:lnTo>
                  <a:lnTo>
                    <a:pt x="214" y="80"/>
                  </a:lnTo>
                  <a:lnTo>
                    <a:pt x="216" y="84"/>
                  </a:lnTo>
                  <a:lnTo>
                    <a:pt x="216" y="78"/>
                  </a:lnTo>
                  <a:lnTo>
                    <a:pt x="218" y="73"/>
                  </a:lnTo>
                  <a:lnTo>
                    <a:pt x="224" y="78"/>
                  </a:lnTo>
                  <a:lnTo>
                    <a:pt x="218" y="69"/>
                  </a:lnTo>
                  <a:lnTo>
                    <a:pt x="229" y="63"/>
                  </a:lnTo>
                  <a:lnTo>
                    <a:pt x="231" y="69"/>
                  </a:lnTo>
                  <a:lnTo>
                    <a:pt x="239" y="56"/>
                  </a:lnTo>
                  <a:lnTo>
                    <a:pt x="244" y="54"/>
                  </a:lnTo>
                  <a:lnTo>
                    <a:pt x="246" y="58"/>
                  </a:lnTo>
                  <a:lnTo>
                    <a:pt x="252" y="50"/>
                  </a:lnTo>
                  <a:lnTo>
                    <a:pt x="255" y="56"/>
                  </a:lnTo>
                  <a:lnTo>
                    <a:pt x="270" y="69"/>
                  </a:lnTo>
                  <a:lnTo>
                    <a:pt x="265" y="73"/>
                  </a:lnTo>
                  <a:lnTo>
                    <a:pt x="268" y="80"/>
                  </a:lnTo>
                  <a:lnTo>
                    <a:pt x="274" y="71"/>
                  </a:lnTo>
                  <a:lnTo>
                    <a:pt x="280" y="73"/>
                  </a:lnTo>
                  <a:lnTo>
                    <a:pt x="285" y="78"/>
                  </a:lnTo>
                  <a:lnTo>
                    <a:pt x="289" y="73"/>
                  </a:lnTo>
                  <a:lnTo>
                    <a:pt x="296" y="80"/>
                  </a:lnTo>
                  <a:lnTo>
                    <a:pt x="293" y="73"/>
                  </a:lnTo>
                  <a:lnTo>
                    <a:pt x="296" y="73"/>
                  </a:lnTo>
                  <a:lnTo>
                    <a:pt x="289" y="63"/>
                  </a:lnTo>
                  <a:lnTo>
                    <a:pt x="296" y="56"/>
                  </a:lnTo>
                  <a:lnTo>
                    <a:pt x="300" y="48"/>
                  </a:lnTo>
                  <a:lnTo>
                    <a:pt x="304" y="48"/>
                  </a:lnTo>
                  <a:lnTo>
                    <a:pt x="302" y="39"/>
                  </a:lnTo>
                  <a:lnTo>
                    <a:pt x="311" y="32"/>
                  </a:lnTo>
                  <a:lnTo>
                    <a:pt x="317" y="32"/>
                  </a:lnTo>
                  <a:lnTo>
                    <a:pt x="317" y="28"/>
                  </a:lnTo>
                  <a:lnTo>
                    <a:pt x="319" y="24"/>
                  </a:lnTo>
                  <a:lnTo>
                    <a:pt x="343" y="24"/>
                  </a:lnTo>
                  <a:lnTo>
                    <a:pt x="345" y="24"/>
                  </a:lnTo>
                  <a:lnTo>
                    <a:pt x="343" y="13"/>
                  </a:lnTo>
                  <a:lnTo>
                    <a:pt x="339" y="13"/>
                  </a:lnTo>
                  <a:lnTo>
                    <a:pt x="334" y="9"/>
                  </a:lnTo>
                  <a:lnTo>
                    <a:pt x="343" y="9"/>
                  </a:lnTo>
                  <a:lnTo>
                    <a:pt x="347" y="9"/>
                  </a:lnTo>
                  <a:lnTo>
                    <a:pt x="350" y="9"/>
                  </a:lnTo>
                  <a:lnTo>
                    <a:pt x="354" y="15"/>
                  </a:lnTo>
                  <a:lnTo>
                    <a:pt x="367" y="20"/>
                  </a:lnTo>
                  <a:lnTo>
                    <a:pt x="369" y="24"/>
                  </a:lnTo>
                  <a:lnTo>
                    <a:pt x="380" y="24"/>
                  </a:lnTo>
                  <a:lnTo>
                    <a:pt x="384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8"/>
                  </a:lnTo>
                  <a:lnTo>
                    <a:pt x="408" y="32"/>
                  </a:lnTo>
                  <a:lnTo>
                    <a:pt x="403" y="24"/>
                  </a:lnTo>
                  <a:lnTo>
                    <a:pt x="410" y="24"/>
                  </a:lnTo>
                  <a:lnTo>
                    <a:pt x="412" y="24"/>
                  </a:lnTo>
                  <a:lnTo>
                    <a:pt x="414" y="28"/>
                  </a:lnTo>
                  <a:lnTo>
                    <a:pt x="410" y="35"/>
                  </a:lnTo>
                  <a:lnTo>
                    <a:pt x="410" y="39"/>
                  </a:lnTo>
                  <a:lnTo>
                    <a:pt x="408" y="43"/>
                  </a:lnTo>
                  <a:lnTo>
                    <a:pt x="408" y="39"/>
                  </a:lnTo>
                  <a:lnTo>
                    <a:pt x="399" y="43"/>
                  </a:lnTo>
                  <a:lnTo>
                    <a:pt x="397" y="50"/>
                  </a:lnTo>
                  <a:lnTo>
                    <a:pt x="397" y="54"/>
                  </a:lnTo>
                  <a:lnTo>
                    <a:pt x="397" y="58"/>
                  </a:lnTo>
                  <a:lnTo>
                    <a:pt x="388" y="73"/>
                  </a:lnTo>
                  <a:lnTo>
                    <a:pt x="397" y="84"/>
                  </a:lnTo>
                  <a:lnTo>
                    <a:pt x="399" y="89"/>
                  </a:lnTo>
                  <a:lnTo>
                    <a:pt x="408" y="89"/>
                  </a:lnTo>
                  <a:lnTo>
                    <a:pt x="410" y="95"/>
                  </a:lnTo>
                  <a:lnTo>
                    <a:pt x="425" y="108"/>
                  </a:lnTo>
                  <a:lnTo>
                    <a:pt x="445" y="112"/>
                  </a:lnTo>
                  <a:lnTo>
                    <a:pt x="445" y="121"/>
                  </a:lnTo>
                  <a:lnTo>
                    <a:pt x="460" y="127"/>
                  </a:lnTo>
                  <a:lnTo>
                    <a:pt x="464" y="127"/>
                  </a:lnTo>
                  <a:lnTo>
                    <a:pt x="470" y="125"/>
                  </a:lnTo>
                  <a:lnTo>
                    <a:pt x="479" y="104"/>
                  </a:lnTo>
                  <a:lnTo>
                    <a:pt x="490" y="71"/>
                  </a:lnTo>
                  <a:lnTo>
                    <a:pt x="490" y="56"/>
                  </a:lnTo>
                  <a:lnTo>
                    <a:pt x="492" y="50"/>
                  </a:lnTo>
                  <a:lnTo>
                    <a:pt x="490" y="43"/>
                  </a:lnTo>
                  <a:lnTo>
                    <a:pt x="494" y="35"/>
                  </a:lnTo>
                  <a:lnTo>
                    <a:pt x="492" y="32"/>
                  </a:lnTo>
                  <a:lnTo>
                    <a:pt x="494" y="24"/>
                  </a:lnTo>
                  <a:lnTo>
                    <a:pt x="498" y="24"/>
                  </a:lnTo>
                  <a:lnTo>
                    <a:pt x="503" y="9"/>
                  </a:lnTo>
                  <a:lnTo>
                    <a:pt x="509" y="0"/>
                  </a:lnTo>
                  <a:lnTo>
                    <a:pt x="509" y="4"/>
                  </a:lnTo>
                  <a:lnTo>
                    <a:pt x="514" y="9"/>
                  </a:lnTo>
                  <a:lnTo>
                    <a:pt x="514" y="24"/>
                  </a:lnTo>
                  <a:lnTo>
                    <a:pt x="518" y="24"/>
                  </a:lnTo>
                  <a:lnTo>
                    <a:pt x="518" y="28"/>
                  </a:lnTo>
                  <a:lnTo>
                    <a:pt x="520" y="32"/>
                  </a:lnTo>
                  <a:lnTo>
                    <a:pt x="520" y="39"/>
                  </a:lnTo>
                  <a:lnTo>
                    <a:pt x="524" y="39"/>
                  </a:lnTo>
                  <a:lnTo>
                    <a:pt x="524" y="56"/>
                  </a:lnTo>
                  <a:lnTo>
                    <a:pt x="527" y="71"/>
                  </a:lnTo>
                  <a:lnTo>
                    <a:pt x="529" y="69"/>
                  </a:lnTo>
                  <a:lnTo>
                    <a:pt x="535" y="63"/>
                  </a:lnTo>
                  <a:lnTo>
                    <a:pt x="539" y="71"/>
                  </a:lnTo>
                  <a:lnTo>
                    <a:pt x="548" y="78"/>
                  </a:lnTo>
                  <a:lnTo>
                    <a:pt x="548" y="99"/>
                  </a:lnTo>
                  <a:lnTo>
                    <a:pt x="548" y="104"/>
                  </a:lnTo>
                  <a:lnTo>
                    <a:pt x="555" y="114"/>
                  </a:lnTo>
                  <a:lnTo>
                    <a:pt x="557" y="130"/>
                  </a:lnTo>
                  <a:lnTo>
                    <a:pt x="557" y="138"/>
                  </a:lnTo>
                  <a:lnTo>
                    <a:pt x="557" y="145"/>
                  </a:lnTo>
                  <a:lnTo>
                    <a:pt x="559" y="153"/>
                  </a:lnTo>
                  <a:lnTo>
                    <a:pt x="568" y="160"/>
                  </a:lnTo>
                  <a:lnTo>
                    <a:pt x="574" y="160"/>
                  </a:lnTo>
                  <a:lnTo>
                    <a:pt x="578" y="168"/>
                  </a:lnTo>
                  <a:lnTo>
                    <a:pt x="583" y="168"/>
                  </a:lnTo>
                  <a:lnTo>
                    <a:pt x="589" y="175"/>
                  </a:lnTo>
                  <a:lnTo>
                    <a:pt x="593" y="184"/>
                  </a:lnTo>
                  <a:lnTo>
                    <a:pt x="598" y="186"/>
                  </a:lnTo>
                  <a:lnTo>
                    <a:pt x="589" y="190"/>
                  </a:lnTo>
                  <a:lnTo>
                    <a:pt x="593" y="194"/>
                  </a:lnTo>
                  <a:lnTo>
                    <a:pt x="600" y="205"/>
                  </a:lnTo>
                  <a:lnTo>
                    <a:pt x="600" y="207"/>
                  </a:lnTo>
                  <a:lnTo>
                    <a:pt x="606" y="225"/>
                  </a:lnTo>
                  <a:lnTo>
                    <a:pt x="609" y="229"/>
                  </a:lnTo>
                  <a:lnTo>
                    <a:pt x="609" y="216"/>
                  </a:lnTo>
                  <a:lnTo>
                    <a:pt x="619" y="225"/>
                  </a:lnTo>
                  <a:lnTo>
                    <a:pt x="619" y="222"/>
                  </a:lnTo>
                  <a:lnTo>
                    <a:pt x="621" y="229"/>
                  </a:lnTo>
                  <a:lnTo>
                    <a:pt x="621" y="244"/>
                  </a:lnTo>
                  <a:lnTo>
                    <a:pt x="615" y="244"/>
                  </a:lnTo>
                  <a:lnTo>
                    <a:pt x="619" y="250"/>
                  </a:lnTo>
                  <a:lnTo>
                    <a:pt x="628" y="255"/>
                  </a:lnTo>
                  <a:lnTo>
                    <a:pt x="634" y="263"/>
                  </a:lnTo>
                  <a:lnTo>
                    <a:pt x="639" y="272"/>
                  </a:lnTo>
                  <a:lnTo>
                    <a:pt x="643" y="279"/>
                  </a:lnTo>
                  <a:lnTo>
                    <a:pt x="647" y="285"/>
                  </a:lnTo>
                  <a:lnTo>
                    <a:pt x="643" y="294"/>
                  </a:lnTo>
                  <a:lnTo>
                    <a:pt x="650" y="304"/>
                  </a:lnTo>
                  <a:lnTo>
                    <a:pt x="643" y="330"/>
                  </a:lnTo>
                  <a:lnTo>
                    <a:pt x="647" y="343"/>
                  </a:lnTo>
                  <a:lnTo>
                    <a:pt x="643" y="365"/>
                  </a:lnTo>
                  <a:lnTo>
                    <a:pt x="634" y="384"/>
                  </a:lnTo>
                  <a:lnTo>
                    <a:pt x="628" y="408"/>
                  </a:lnTo>
                  <a:lnTo>
                    <a:pt x="613" y="432"/>
                  </a:lnTo>
                  <a:lnTo>
                    <a:pt x="613" y="434"/>
                  </a:lnTo>
                  <a:lnTo>
                    <a:pt x="613" y="438"/>
                  </a:lnTo>
                  <a:lnTo>
                    <a:pt x="593" y="453"/>
                  </a:lnTo>
                  <a:lnTo>
                    <a:pt x="589" y="464"/>
                  </a:lnTo>
                  <a:lnTo>
                    <a:pt x="589" y="473"/>
                  </a:lnTo>
                  <a:lnTo>
                    <a:pt x="574" y="488"/>
                  </a:lnTo>
                  <a:lnTo>
                    <a:pt x="570" y="499"/>
                  </a:lnTo>
                  <a:lnTo>
                    <a:pt x="555" y="529"/>
                  </a:lnTo>
                  <a:lnTo>
                    <a:pt x="544" y="553"/>
                  </a:lnTo>
                  <a:lnTo>
                    <a:pt x="529" y="561"/>
                  </a:lnTo>
                  <a:lnTo>
                    <a:pt x="505" y="561"/>
                  </a:lnTo>
                  <a:lnTo>
                    <a:pt x="494" y="570"/>
                  </a:lnTo>
                  <a:lnTo>
                    <a:pt x="477" y="579"/>
                  </a:lnTo>
                  <a:lnTo>
                    <a:pt x="479" y="583"/>
                  </a:lnTo>
                  <a:lnTo>
                    <a:pt x="477" y="58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4" name="Freeform 277"/>
            <p:cNvSpPr>
              <a:spLocks noChangeAspect="1"/>
            </p:cNvSpPr>
            <p:nvPr/>
          </p:nvSpPr>
          <p:spPr bwMode="auto">
            <a:xfrm>
              <a:off x="5422" y="3556"/>
              <a:ext cx="154" cy="167"/>
            </a:xfrm>
            <a:custGeom>
              <a:avLst/>
              <a:gdLst>
                <a:gd name="T0" fmla="*/ 218 w 140"/>
                <a:gd name="T1" fmla="*/ 229 h 164"/>
                <a:gd name="T2" fmla="*/ 178 w 140"/>
                <a:gd name="T3" fmla="*/ 220 h 164"/>
                <a:gd name="T4" fmla="*/ 101 w 140"/>
                <a:gd name="T5" fmla="*/ 208 h 164"/>
                <a:gd name="T6" fmla="*/ 0 w 140"/>
                <a:gd name="T7" fmla="*/ 205 h 164"/>
                <a:gd name="T8" fmla="*/ 0 w 140"/>
                <a:gd name="T9" fmla="*/ 196 h 164"/>
                <a:gd name="T10" fmla="*/ 52 w 140"/>
                <a:gd name="T11" fmla="*/ 192 h 164"/>
                <a:gd name="T12" fmla="*/ 69 w 140"/>
                <a:gd name="T13" fmla="*/ 173 h 164"/>
                <a:gd name="T14" fmla="*/ 101 w 140"/>
                <a:gd name="T15" fmla="*/ 168 h 164"/>
                <a:gd name="T16" fmla="*/ 112 w 140"/>
                <a:gd name="T17" fmla="*/ 162 h 164"/>
                <a:gd name="T18" fmla="*/ 178 w 140"/>
                <a:gd name="T19" fmla="*/ 159 h 164"/>
                <a:gd name="T20" fmla="*/ 240 w 140"/>
                <a:gd name="T21" fmla="*/ 150 h 164"/>
                <a:gd name="T22" fmla="*/ 288 w 140"/>
                <a:gd name="T23" fmla="*/ 140 h 164"/>
                <a:gd name="T24" fmla="*/ 308 w 140"/>
                <a:gd name="T25" fmla="*/ 135 h 164"/>
                <a:gd name="T26" fmla="*/ 425 w 140"/>
                <a:gd name="T27" fmla="*/ 128 h 164"/>
                <a:gd name="T28" fmla="*/ 657 w 140"/>
                <a:gd name="T29" fmla="*/ 96 h 164"/>
                <a:gd name="T30" fmla="*/ 852 w 140"/>
                <a:gd name="T31" fmla="*/ 59 h 164"/>
                <a:gd name="T32" fmla="*/ 880 w 140"/>
                <a:gd name="T33" fmla="*/ 50 h 164"/>
                <a:gd name="T34" fmla="*/ 968 w 140"/>
                <a:gd name="T35" fmla="*/ 11 h 164"/>
                <a:gd name="T36" fmla="*/ 1044 w 140"/>
                <a:gd name="T37" fmla="*/ 2 h 164"/>
                <a:gd name="T38" fmla="*/ 1044 w 140"/>
                <a:gd name="T39" fmla="*/ 11 h 164"/>
                <a:gd name="T40" fmla="*/ 1044 w 140"/>
                <a:gd name="T41" fmla="*/ 24 h 164"/>
                <a:gd name="T42" fmla="*/ 1094 w 140"/>
                <a:gd name="T43" fmla="*/ 17 h 164"/>
                <a:gd name="T44" fmla="*/ 1110 w 140"/>
                <a:gd name="T45" fmla="*/ 24 h 164"/>
                <a:gd name="T46" fmla="*/ 1094 w 140"/>
                <a:gd name="T47" fmla="*/ 56 h 164"/>
                <a:gd name="T48" fmla="*/ 1025 w 140"/>
                <a:gd name="T49" fmla="*/ 76 h 164"/>
                <a:gd name="T50" fmla="*/ 909 w 140"/>
                <a:gd name="T51" fmla="*/ 108 h 164"/>
                <a:gd name="T52" fmla="*/ 909 w 140"/>
                <a:gd name="T53" fmla="*/ 130 h 164"/>
                <a:gd name="T54" fmla="*/ 852 w 140"/>
                <a:gd name="T55" fmla="*/ 130 h 164"/>
                <a:gd name="T56" fmla="*/ 826 w 140"/>
                <a:gd name="T57" fmla="*/ 130 h 164"/>
                <a:gd name="T58" fmla="*/ 661 w 140"/>
                <a:gd name="T59" fmla="*/ 150 h 164"/>
                <a:gd name="T60" fmla="*/ 601 w 140"/>
                <a:gd name="T61" fmla="*/ 179 h 164"/>
                <a:gd name="T62" fmla="*/ 514 w 140"/>
                <a:gd name="T63" fmla="*/ 202 h 164"/>
                <a:gd name="T64" fmla="*/ 514 w 140"/>
                <a:gd name="T65" fmla="*/ 205 h 164"/>
                <a:gd name="T66" fmla="*/ 405 w 140"/>
                <a:gd name="T67" fmla="*/ 220 h 164"/>
                <a:gd name="T68" fmla="*/ 240 w 140"/>
                <a:gd name="T69" fmla="*/ 234 h 16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0"/>
                <a:gd name="T106" fmla="*/ 0 h 164"/>
                <a:gd name="T107" fmla="*/ 140 w 140"/>
                <a:gd name="T108" fmla="*/ 164 h 16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0" h="164">
                  <a:moveTo>
                    <a:pt x="30" y="164"/>
                  </a:moveTo>
                  <a:lnTo>
                    <a:pt x="28" y="160"/>
                  </a:lnTo>
                  <a:lnTo>
                    <a:pt x="22" y="157"/>
                  </a:lnTo>
                  <a:lnTo>
                    <a:pt x="22" y="153"/>
                  </a:lnTo>
                  <a:lnTo>
                    <a:pt x="13" y="149"/>
                  </a:lnTo>
                  <a:lnTo>
                    <a:pt x="13" y="144"/>
                  </a:lnTo>
                  <a:lnTo>
                    <a:pt x="6" y="144"/>
                  </a:lnTo>
                  <a:lnTo>
                    <a:pt x="0" y="142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6" y="134"/>
                  </a:lnTo>
                  <a:lnTo>
                    <a:pt x="6" y="127"/>
                  </a:lnTo>
                  <a:lnTo>
                    <a:pt x="9" y="121"/>
                  </a:lnTo>
                  <a:lnTo>
                    <a:pt x="15" y="125"/>
                  </a:lnTo>
                  <a:lnTo>
                    <a:pt x="13" y="118"/>
                  </a:lnTo>
                  <a:lnTo>
                    <a:pt x="15" y="118"/>
                  </a:lnTo>
                  <a:lnTo>
                    <a:pt x="15" y="114"/>
                  </a:lnTo>
                  <a:lnTo>
                    <a:pt x="19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30" y="106"/>
                  </a:lnTo>
                  <a:lnTo>
                    <a:pt x="37" y="95"/>
                  </a:lnTo>
                  <a:lnTo>
                    <a:pt x="37" y="99"/>
                  </a:lnTo>
                  <a:lnTo>
                    <a:pt x="39" y="99"/>
                  </a:lnTo>
                  <a:lnTo>
                    <a:pt x="39" y="95"/>
                  </a:lnTo>
                  <a:lnTo>
                    <a:pt x="45" y="88"/>
                  </a:lnTo>
                  <a:lnTo>
                    <a:pt x="54" y="88"/>
                  </a:lnTo>
                  <a:lnTo>
                    <a:pt x="65" y="82"/>
                  </a:lnTo>
                  <a:lnTo>
                    <a:pt x="82" y="69"/>
                  </a:lnTo>
                  <a:lnTo>
                    <a:pt x="97" y="56"/>
                  </a:lnTo>
                  <a:lnTo>
                    <a:pt x="108" y="39"/>
                  </a:lnTo>
                  <a:lnTo>
                    <a:pt x="110" y="34"/>
                  </a:lnTo>
                  <a:lnTo>
                    <a:pt x="112" y="30"/>
                  </a:lnTo>
                  <a:lnTo>
                    <a:pt x="119" y="21"/>
                  </a:lnTo>
                  <a:lnTo>
                    <a:pt x="123" y="11"/>
                  </a:lnTo>
                  <a:lnTo>
                    <a:pt x="130" y="0"/>
                  </a:lnTo>
                  <a:lnTo>
                    <a:pt x="132" y="2"/>
                  </a:lnTo>
                  <a:lnTo>
                    <a:pt x="132" y="11"/>
                  </a:lnTo>
                  <a:lnTo>
                    <a:pt x="132" y="17"/>
                  </a:lnTo>
                  <a:lnTo>
                    <a:pt x="132" y="24"/>
                  </a:lnTo>
                  <a:lnTo>
                    <a:pt x="132" y="21"/>
                  </a:lnTo>
                  <a:lnTo>
                    <a:pt x="138" y="17"/>
                  </a:lnTo>
                  <a:lnTo>
                    <a:pt x="138" y="21"/>
                  </a:lnTo>
                  <a:lnTo>
                    <a:pt x="140" y="24"/>
                  </a:lnTo>
                  <a:lnTo>
                    <a:pt x="138" y="26"/>
                  </a:lnTo>
                  <a:lnTo>
                    <a:pt x="138" y="36"/>
                  </a:lnTo>
                  <a:lnTo>
                    <a:pt x="134" y="45"/>
                  </a:lnTo>
                  <a:lnTo>
                    <a:pt x="130" y="56"/>
                  </a:lnTo>
                  <a:lnTo>
                    <a:pt x="123" y="67"/>
                  </a:lnTo>
                  <a:lnTo>
                    <a:pt x="114" y="75"/>
                  </a:lnTo>
                  <a:lnTo>
                    <a:pt x="112" y="84"/>
                  </a:lnTo>
                  <a:lnTo>
                    <a:pt x="114" y="90"/>
                  </a:lnTo>
                  <a:lnTo>
                    <a:pt x="110" y="88"/>
                  </a:lnTo>
                  <a:lnTo>
                    <a:pt x="108" y="90"/>
                  </a:lnTo>
                  <a:lnTo>
                    <a:pt x="104" y="88"/>
                  </a:lnTo>
                  <a:lnTo>
                    <a:pt x="104" y="90"/>
                  </a:lnTo>
                  <a:lnTo>
                    <a:pt x="95" y="95"/>
                  </a:lnTo>
                  <a:lnTo>
                    <a:pt x="84" y="106"/>
                  </a:lnTo>
                  <a:lnTo>
                    <a:pt x="82" y="118"/>
                  </a:lnTo>
                  <a:lnTo>
                    <a:pt x="76" y="125"/>
                  </a:lnTo>
                  <a:lnTo>
                    <a:pt x="69" y="134"/>
                  </a:lnTo>
                  <a:lnTo>
                    <a:pt x="65" y="140"/>
                  </a:lnTo>
                  <a:lnTo>
                    <a:pt x="67" y="142"/>
                  </a:lnTo>
                  <a:lnTo>
                    <a:pt x="65" y="142"/>
                  </a:lnTo>
                  <a:lnTo>
                    <a:pt x="58" y="149"/>
                  </a:lnTo>
                  <a:lnTo>
                    <a:pt x="50" y="153"/>
                  </a:lnTo>
                  <a:lnTo>
                    <a:pt x="45" y="160"/>
                  </a:lnTo>
                  <a:lnTo>
                    <a:pt x="30" y="1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5" name="Freeform 278"/>
            <p:cNvSpPr>
              <a:spLocks noChangeAspect="1"/>
            </p:cNvSpPr>
            <p:nvPr/>
          </p:nvSpPr>
          <p:spPr bwMode="auto">
            <a:xfrm>
              <a:off x="5582" y="3397"/>
              <a:ext cx="99" cy="195"/>
            </a:xfrm>
            <a:custGeom>
              <a:avLst/>
              <a:gdLst>
                <a:gd name="T0" fmla="*/ 4 w 90"/>
                <a:gd name="T1" fmla="*/ 261 h 192"/>
                <a:gd name="T2" fmla="*/ 4 w 90"/>
                <a:gd name="T3" fmla="*/ 247 h 192"/>
                <a:gd name="T4" fmla="*/ 0 w 90"/>
                <a:gd name="T5" fmla="*/ 253 h 192"/>
                <a:gd name="T6" fmla="*/ 0 w 90"/>
                <a:gd name="T7" fmla="*/ 247 h 192"/>
                <a:gd name="T8" fmla="*/ 4 w 90"/>
                <a:gd name="T9" fmla="*/ 235 h 192"/>
                <a:gd name="T10" fmla="*/ 63 w 90"/>
                <a:gd name="T11" fmla="*/ 217 h 192"/>
                <a:gd name="T12" fmla="*/ 63 w 90"/>
                <a:gd name="T13" fmla="*/ 197 h 192"/>
                <a:gd name="T14" fmla="*/ 43 w 90"/>
                <a:gd name="T15" fmla="*/ 191 h 192"/>
                <a:gd name="T16" fmla="*/ 4 w 90"/>
                <a:gd name="T17" fmla="*/ 178 h 192"/>
                <a:gd name="T18" fmla="*/ 0 w 90"/>
                <a:gd name="T19" fmla="*/ 172 h 192"/>
                <a:gd name="T20" fmla="*/ 4 w 90"/>
                <a:gd name="T21" fmla="*/ 161 h 192"/>
                <a:gd name="T22" fmla="*/ 63 w 90"/>
                <a:gd name="T23" fmla="*/ 157 h 192"/>
                <a:gd name="T24" fmla="*/ 113 w 90"/>
                <a:gd name="T25" fmla="*/ 137 h 192"/>
                <a:gd name="T26" fmla="*/ 147 w 90"/>
                <a:gd name="T27" fmla="*/ 140 h 192"/>
                <a:gd name="T28" fmla="*/ 147 w 90"/>
                <a:gd name="T29" fmla="*/ 118 h 192"/>
                <a:gd name="T30" fmla="*/ 147 w 90"/>
                <a:gd name="T31" fmla="*/ 92 h 192"/>
                <a:gd name="T32" fmla="*/ 165 w 90"/>
                <a:gd name="T33" fmla="*/ 92 h 192"/>
                <a:gd name="T34" fmla="*/ 182 w 90"/>
                <a:gd name="T35" fmla="*/ 85 h 192"/>
                <a:gd name="T36" fmla="*/ 147 w 90"/>
                <a:gd name="T37" fmla="*/ 85 h 192"/>
                <a:gd name="T38" fmla="*/ 147 w 90"/>
                <a:gd name="T39" fmla="*/ 76 h 192"/>
                <a:gd name="T40" fmla="*/ 147 w 90"/>
                <a:gd name="T41" fmla="*/ 72 h 192"/>
                <a:gd name="T42" fmla="*/ 165 w 90"/>
                <a:gd name="T43" fmla="*/ 76 h 192"/>
                <a:gd name="T44" fmla="*/ 165 w 90"/>
                <a:gd name="T45" fmla="*/ 72 h 192"/>
                <a:gd name="T46" fmla="*/ 165 w 90"/>
                <a:gd name="T47" fmla="*/ 66 h 192"/>
                <a:gd name="T48" fmla="*/ 147 w 90"/>
                <a:gd name="T49" fmla="*/ 66 h 192"/>
                <a:gd name="T50" fmla="*/ 113 w 90"/>
                <a:gd name="T51" fmla="*/ 70 h 192"/>
                <a:gd name="T52" fmla="*/ 76 w 90"/>
                <a:gd name="T53" fmla="*/ 15 h 192"/>
                <a:gd name="T54" fmla="*/ 63 w 90"/>
                <a:gd name="T55" fmla="*/ 0 h 192"/>
                <a:gd name="T56" fmla="*/ 76 w 90"/>
                <a:gd name="T57" fmla="*/ 0 h 192"/>
                <a:gd name="T58" fmla="*/ 76 w 90"/>
                <a:gd name="T59" fmla="*/ 5 h 192"/>
                <a:gd name="T60" fmla="*/ 76 w 90"/>
                <a:gd name="T61" fmla="*/ 11 h 192"/>
                <a:gd name="T62" fmla="*/ 113 w 90"/>
                <a:gd name="T63" fmla="*/ 11 h 192"/>
                <a:gd name="T64" fmla="*/ 165 w 90"/>
                <a:gd name="T65" fmla="*/ 15 h 192"/>
                <a:gd name="T66" fmla="*/ 182 w 90"/>
                <a:gd name="T67" fmla="*/ 22 h 192"/>
                <a:gd name="T68" fmla="*/ 216 w 90"/>
                <a:gd name="T69" fmla="*/ 22 h 192"/>
                <a:gd name="T70" fmla="*/ 216 w 90"/>
                <a:gd name="T71" fmla="*/ 55 h 192"/>
                <a:gd name="T72" fmla="*/ 182 w 90"/>
                <a:gd name="T73" fmla="*/ 57 h 192"/>
                <a:gd name="T74" fmla="*/ 216 w 90"/>
                <a:gd name="T75" fmla="*/ 64 h 192"/>
                <a:gd name="T76" fmla="*/ 216 w 90"/>
                <a:gd name="T77" fmla="*/ 72 h 192"/>
                <a:gd name="T78" fmla="*/ 230 w 90"/>
                <a:gd name="T79" fmla="*/ 81 h 192"/>
                <a:gd name="T80" fmla="*/ 266 w 90"/>
                <a:gd name="T81" fmla="*/ 92 h 192"/>
                <a:gd name="T82" fmla="*/ 293 w 90"/>
                <a:gd name="T83" fmla="*/ 92 h 192"/>
                <a:gd name="T84" fmla="*/ 354 w 90"/>
                <a:gd name="T85" fmla="*/ 79 h 192"/>
                <a:gd name="T86" fmla="*/ 354 w 90"/>
                <a:gd name="T87" fmla="*/ 76 h 192"/>
                <a:gd name="T88" fmla="*/ 354 w 90"/>
                <a:gd name="T89" fmla="*/ 70 h 192"/>
                <a:gd name="T90" fmla="*/ 422 w 90"/>
                <a:gd name="T91" fmla="*/ 70 h 192"/>
                <a:gd name="T92" fmla="*/ 422 w 90"/>
                <a:gd name="T93" fmla="*/ 79 h 192"/>
                <a:gd name="T94" fmla="*/ 495 w 90"/>
                <a:gd name="T95" fmla="*/ 89 h 192"/>
                <a:gd name="T96" fmla="*/ 570 w 90"/>
                <a:gd name="T97" fmla="*/ 89 h 192"/>
                <a:gd name="T98" fmla="*/ 629 w 90"/>
                <a:gd name="T99" fmla="*/ 79 h 192"/>
                <a:gd name="T100" fmla="*/ 700 w 90"/>
                <a:gd name="T101" fmla="*/ 79 h 192"/>
                <a:gd name="T102" fmla="*/ 700 w 90"/>
                <a:gd name="T103" fmla="*/ 89 h 192"/>
                <a:gd name="T104" fmla="*/ 629 w 90"/>
                <a:gd name="T105" fmla="*/ 96 h 192"/>
                <a:gd name="T106" fmla="*/ 422 w 90"/>
                <a:gd name="T107" fmla="*/ 178 h 192"/>
                <a:gd name="T108" fmla="*/ 266 w 90"/>
                <a:gd name="T109" fmla="*/ 206 h 192"/>
                <a:gd name="T110" fmla="*/ 182 w 90"/>
                <a:gd name="T111" fmla="*/ 224 h 192"/>
                <a:gd name="T112" fmla="*/ 113 w 90"/>
                <a:gd name="T113" fmla="*/ 241 h 192"/>
                <a:gd name="T114" fmla="*/ 4 w 90"/>
                <a:gd name="T115" fmla="*/ 261 h 19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0"/>
                <a:gd name="T175" fmla="*/ 0 h 192"/>
                <a:gd name="T176" fmla="*/ 90 w 90"/>
                <a:gd name="T177" fmla="*/ 192 h 19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0" h="192">
                  <a:moveTo>
                    <a:pt x="4" y="192"/>
                  </a:moveTo>
                  <a:lnTo>
                    <a:pt x="4" y="182"/>
                  </a:lnTo>
                  <a:lnTo>
                    <a:pt x="0" y="186"/>
                  </a:lnTo>
                  <a:lnTo>
                    <a:pt x="0" y="182"/>
                  </a:lnTo>
                  <a:lnTo>
                    <a:pt x="4" y="173"/>
                  </a:lnTo>
                  <a:lnTo>
                    <a:pt x="8" y="158"/>
                  </a:lnTo>
                  <a:lnTo>
                    <a:pt x="8" y="145"/>
                  </a:lnTo>
                  <a:lnTo>
                    <a:pt x="6" y="141"/>
                  </a:lnTo>
                  <a:lnTo>
                    <a:pt x="4" y="132"/>
                  </a:lnTo>
                  <a:lnTo>
                    <a:pt x="0" y="128"/>
                  </a:lnTo>
                  <a:lnTo>
                    <a:pt x="4" y="121"/>
                  </a:lnTo>
                  <a:lnTo>
                    <a:pt x="8" y="117"/>
                  </a:lnTo>
                  <a:lnTo>
                    <a:pt x="15" y="97"/>
                  </a:lnTo>
                  <a:lnTo>
                    <a:pt x="19" y="100"/>
                  </a:lnTo>
                  <a:lnTo>
                    <a:pt x="19" y="87"/>
                  </a:lnTo>
                  <a:lnTo>
                    <a:pt x="19" y="72"/>
                  </a:lnTo>
                  <a:lnTo>
                    <a:pt x="21" y="72"/>
                  </a:lnTo>
                  <a:lnTo>
                    <a:pt x="23" y="65"/>
                  </a:lnTo>
                  <a:lnTo>
                    <a:pt x="19" y="65"/>
                  </a:lnTo>
                  <a:lnTo>
                    <a:pt x="19" y="56"/>
                  </a:lnTo>
                  <a:lnTo>
                    <a:pt x="19" y="52"/>
                  </a:lnTo>
                  <a:lnTo>
                    <a:pt x="21" y="56"/>
                  </a:lnTo>
                  <a:lnTo>
                    <a:pt x="21" y="52"/>
                  </a:lnTo>
                  <a:lnTo>
                    <a:pt x="21" y="46"/>
                  </a:lnTo>
                  <a:lnTo>
                    <a:pt x="19" y="46"/>
                  </a:lnTo>
                  <a:lnTo>
                    <a:pt x="15" y="50"/>
                  </a:lnTo>
                  <a:lnTo>
                    <a:pt x="10" y="15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5"/>
                  </a:lnTo>
                  <a:lnTo>
                    <a:pt x="10" y="11"/>
                  </a:lnTo>
                  <a:lnTo>
                    <a:pt x="15" y="11"/>
                  </a:lnTo>
                  <a:lnTo>
                    <a:pt x="21" y="15"/>
                  </a:lnTo>
                  <a:lnTo>
                    <a:pt x="23" y="22"/>
                  </a:lnTo>
                  <a:lnTo>
                    <a:pt x="28" y="22"/>
                  </a:lnTo>
                  <a:lnTo>
                    <a:pt x="28" y="35"/>
                  </a:lnTo>
                  <a:lnTo>
                    <a:pt x="23" y="37"/>
                  </a:lnTo>
                  <a:lnTo>
                    <a:pt x="28" y="44"/>
                  </a:lnTo>
                  <a:lnTo>
                    <a:pt x="28" y="52"/>
                  </a:lnTo>
                  <a:lnTo>
                    <a:pt x="30" y="61"/>
                  </a:lnTo>
                  <a:lnTo>
                    <a:pt x="34" y="72"/>
                  </a:lnTo>
                  <a:lnTo>
                    <a:pt x="38" y="72"/>
                  </a:lnTo>
                  <a:lnTo>
                    <a:pt x="45" y="59"/>
                  </a:lnTo>
                  <a:lnTo>
                    <a:pt x="45" y="56"/>
                  </a:lnTo>
                  <a:lnTo>
                    <a:pt x="45" y="50"/>
                  </a:lnTo>
                  <a:lnTo>
                    <a:pt x="54" y="50"/>
                  </a:lnTo>
                  <a:lnTo>
                    <a:pt x="54" y="59"/>
                  </a:lnTo>
                  <a:lnTo>
                    <a:pt x="64" y="69"/>
                  </a:lnTo>
                  <a:lnTo>
                    <a:pt x="73" y="69"/>
                  </a:lnTo>
                  <a:lnTo>
                    <a:pt x="82" y="59"/>
                  </a:lnTo>
                  <a:lnTo>
                    <a:pt x="90" y="59"/>
                  </a:lnTo>
                  <a:lnTo>
                    <a:pt x="90" y="69"/>
                  </a:lnTo>
                  <a:lnTo>
                    <a:pt x="82" y="76"/>
                  </a:lnTo>
                  <a:lnTo>
                    <a:pt x="54" y="132"/>
                  </a:lnTo>
                  <a:lnTo>
                    <a:pt x="34" y="151"/>
                  </a:lnTo>
                  <a:lnTo>
                    <a:pt x="23" y="164"/>
                  </a:lnTo>
                  <a:lnTo>
                    <a:pt x="15" y="177"/>
                  </a:lnTo>
                  <a:lnTo>
                    <a:pt x="4" y="19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6" name="Freeform 279"/>
            <p:cNvSpPr>
              <a:spLocks noChangeAspect="1"/>
            </p:cNvSpPr>
            <p:nvPr/>
          </p:nvSpPr>
          <p:spPr bwMode="auto">
            <a:xfrm>
              <a:off x="5144" y="2743"/>
              <a:ext cx="174" cy="138"/>
            </a:xfrm>
            <a:custGeom>
              <a:avLst/>
              <a:gdLst>
                <a:gd name="T0" fmla="*/ 0 w 157"/>
                <a:gd name="T1" fmla="*/ 150 h 136"/>
                <a:gd name="T2" fmla="*/ 2 w 157"/>
                <a:gd name="T3" fmla="*/ 0 h 136"/>
                <a:gd name="T4" fmla="*/ 165 w 157"/>
                <a:gd name="T5" fmla="*/ 7 h 136"/>
                <a:gd name="T6" fmla="*/ 379 w 157"/>
                <a:gd name="T7" fmla="*/ 11 h 136"/>
                <a:gd name="T8" fmla="*/ 479 w 157"/>
                <a:gd name="T9" fmla="*/ 17 h 136"/>
                <a:gd name="T10" fmla="*/ 515 w 157"/>
                <a:gd name="T11" fmla="*/ 17 h 136"/>
                <a:gd name="T12" fmla="*/ 602 w 157"/>
                <a:gd name="T13" fmla="*/ 26 h 136"/>
                <a:gd name="T14" fmla="*/ 669 w 157"/>
                <a:gd name="T15" fmla="*/ 26 h 136"/>
                <a:gd name="T16" fmla="*/ 767 w 157"/>
                <a:gd name="T17" fmla="*/ 32 h 136"/>
                <a:gd name="T18" fmla="*/ 767 w 157"/>
                <a:gd name="T19" fmla="*/ 65 h 136"/>
                <a:gd name="T20" fmla="*/ 997 w 157"/>
                <a:gd name="T21" fmla="*/ 74 h 136"/>
                <a:gd name="T22" fmla="*/ 1055 w 157"/>
                <a:gd name="T23" fmla="*/ 85 h 136"/>
                <a:gd name="T24" fmla="*/ 900 w 157"/>
                <a:gd name="T25" fmla="*/ 89 h 136"/>
                <a:gd name="T26" fmla="*/ 952 w 157"/>
                <a:gd name="T27" fmla="*/ 100 h 136"/>
                <a:gd name="T28" fmla="*/ 1065 w 157"/>
                <a:gd name="T29" fmla="*/ 119 h 136"/>
                <a:gd name="T30" fmla="*/ 1115 w 157"/>
                <a:gd name="T31" fmla="*/ 127 h 136"/>
                <a:gd name="T32" fmla="*/ 1144 w 157"/>
                <a:gd name="T33" fmla="*/ 135 h 136"/>
                <a:gd name="T34" fmla="*/ 1144 w 157"/>
                <a:gd name="T35" fmla="*/ 150 h 136"/>
                <a:gd name="T36" fmla="*/ 1239 w 157"/>
                <a:gd name="T37" fmla="*/ 150 h 136"/>
                <a:gd name="T38" fmla="*/ 1282 w 157"/>
                <a:gd name="T39" fmla="*/ 152 h 136"/>
                <a:gd name="T40" fmla="*/ 1239 w 157"/>
                <a:gd name="T41" fmla="*/ 154 h 136"/>
                <a:gd name="T42" fmla="*/ 1358 w 157"/>
                <a:gd name="T43" fmla="*/ 159 h 136"/>
                <a:gd name="T44" fmla="*/ 1340 w 157"/>
                <a:gd name="T45" fmla="*/ 165 h 136"/>
                <a:gd name="T46" fmla="*/ 1395 w 157"/>
                <a:gd name="T47" fmla="*/ 167 h 136"/>
                <a:gd name="T48" fmla="*/ 1450 w 157"/>
                <a:gd name="T49" fmla="*/ 170 h 136"/>
                <a:gd name="T50" fmla="*/ 1395 w 157"/>
                <a:gd name="T51" fmla="*/ 175 h 136"/>
                <a:gd name="T52" fmla="*/ 1450 w 157"/>
                <a:gd name="T53" fmla="*/ 175 h 136"/>
                <a:gd name="T54" fmla="*/ 1450 w 157"/>
                <a:gd name="T55" fmla="*/ 178 h 136"/>
                <a:gd name="T56" fmla="*/ 1358 w 157"/>
                <a:gd name="T57" fmla="*/ 178 h 136"/>
                <a:gd name="T58" fmla="*/ 1358 w 157"/>
                <a:gd name="T59" fmla="*/ 175 h 136"/>
                <a:gd name="T60" fmla="*/ 1115 w 157"/>
                <a:gd name="T61" fmla="*/ 167 h 136"/>
                <a:gd name="T62" fmla="*/ 1055 w 157"/>
                <a:gd name="T63" fmla="*/ 167 h 136"/>
                <a:gd name="T64" fmla="*/ 900 w 157"/>
                <a:gd name="T65" fmla="*/ 154 h 136"/>
                <a:gd name="T66" fmla="*/ 900 w 157"/>
                <a:gd name="T67" fmla="*/ 150 h 136"/>
                <a:gd name="T68" fmla="*/ 854 w 157"/>
                <a:gd name="T69" fmla="*/ 150 h 136"/>
                <a:gd name="T70" fmla="*/ 819 w 157"/>
                <a:gd name="T71" fmla="*/ 144 h 136"/>
                <a:gd name="T72" fmla="*/ 767 w 157"/>
                <a:gd name="T73" fmla="*/ 115 h 136"/>
                <a:gd name="T74" fmla="*/ 699 w 157"/>
                <a:gd name="T75" fmla="*/ 115 h 136"/>
                <a:gd name="T76" fmla="*/ 669 w 157"/>
                <a:gd name="T77" fmla="*/ 115 h 136"/>
                <a:gd name="T78" fmla="*/ 575 w 157"/>
                <a:gd name="T79" fmla="*/ 115 h 136"/>
                <a:gd name="T80" fmla="*/ 567 w 157"/>
                <a:gd name="T81" fmla="*/ 100 h 136"/>
                <a:gd name="T82" fmla="*/ 533 w 157"/>
                <a:gd name="T83" fmla="*/ 100 h 136"/>
                <a:gd name="T84" fmla="*/ 515 w 157"/>
                <a:gd name="T85" fmla="*/ 105 h 136"/>
                <a:gd name="T86" fmla="*/ 479 w 157"/>
                <a:gd name="T87" fmla="*/ 105 h 136"/>
                <a:gd name="T88" fmla="*/ 418 w 157"/>
                <a:gd name="T89" fmla="*/ 100 h 136"/>
                <a:gd name="T90" fmla="*/ 434 w 157"/>
                <a:gd name="T91" fmla="*/ 119 h 136"/>
                <a:gd name="T92" fmla="*/ 399 w 157"/>
                <a:gd name="T93" fmla="*/ 119 h 136"/>
                <a:gd name="T94" fmla="*/ 399 w 157"/>
                <a:gd name="T95" fmla="*/ 127 h 136"/>
                <a:gd name="T96" fmla="*/ 259 w 157"/>
                <a:gd name="T97" fmla="*/ 127 h 136"/>
                <a:gd name="T98" fmla="*/ 306 w 157"/>
                <a:gd name="T99" fmla="*/ 131 h 136"/>
                <a:gd name="T100" fmla="*/ 379 w 157"/>
                <a:gd name="T101" fmla="*/ 146 h 136"/>
                <a:gd name="T102" fmla="*/ 259 w 157"/>
                <a:gd name="T103" fmla="*/ 152 h 136"/>
                <a:gd name="T104" fmla="*/ 0 w 157"/>
                <a:gd name="T105" fmla="*/ 150 h 1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57"/>
                <a:gd name="T160" fmla="*/ 0 h 136"/>
                <a:gd name="T161" fmla="*/ 157 w 157"/>
                <a:gd name="T162" fmla="*/ 136 h 1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57" h="136">
                  <a:moveTo>
                    <a:pt x="0" y="110"/>
                  </a:moveTo>
                  <a:lnTo>
                    <a:pt x="2" y="0"/>
                  </a:lnTo>
                  <a:lnTo>
                    <a:pt x="17" y="7"/>
                  </a:lnTo>
                  <a:lnTo>
                    <a:pt x="41" y="11"/>
                  </a:lnTo>
                  <a:lnTo>
                    <a:pt x="51" y="17"/>
                  </a:lnTo>
                  <a:lnTo>
                    <a:pt x="56" y="17"/>
                  </a:lnTo>
                  <a:lnTo>
                    <a:pt x="66" y="26"/>
                  </a:lnTo>
                  <a:lnTo>
                    <a:pt x="73" y="26"/>
                  </a:lnTo>
                  <a:lnTo>
                    <a:pt x="82" y="32"/>
                  </a:lnTo>
                  <a:lnTo>
                    <a:pt x="82" y="45"/>
                  </a:lnTo>
                  <a:lnTo>
                    <a:pt x="107" y="54"/>
                  </a:lnTo>
                  <a:lnTo>
                    <a:pt x="114" y="65"/>
                  </a:lnTo>
                  <a:lnTo>
                    <a:pt x="97" y="69"/>
                  </a:lnTo>
                  <a:lnTo>
                    <a:pt x="103" y="80"/>
                  </a:lnTo>
                  <a:lnTo>
                    <a:pt x="116" y="91"/>
                  </a:lnTo>
                  <a:lnTo>
                    <a:pt x="120" y="95"/>
                  </a:lnTo>
                  <a:lnTo>
                    <a:pt x="123" y="99"/>
                  </a:lnTo>
                  <a:lnTo>
                    <a:pt x="123" y="110"/>
                  </a:lnTo>
                  <a:lnTo>
                    <a:pt x="135" y="110"/>
                  </a:lnTo>
                  <a:lnTo>
                    <a:pt x="138" y="112"/>
                  </a:lnTo>
                  <a:lnTo>
                    <a:pt x="135" y="114"/>
                  </a:lnTo>
                  <a:lnTo>
                    <a:pt x="146" y="119"/>
                  </a:lnTo>
                  <a:lnTo>
                    <a:pt x="144" y="125"/>
                  </a:lnTo>
                  <a:lnTo>
                    <a:pt x="151" y="127"/>
                  </a:lnTo>
                  <a:lnTo>
                    <a:pt x="157" y="130"/>
                  </a:lnTo>
                  <a:lnTo>
                    <a:pt x="151" y="134"/>
                  </a:lnTo>
                  <a:lnTo>
                    <a:pt x="157" y="134"/>
                  </a:lnTo>
                  <a:lnTo>
                    <a:pt x="157" y="136"/>
                  </a:lnTo>
                  <a:lnTo>
                    <a:pt x="146" y="136"/>
                  </a:lnTo>
                  <a:lnTo>
                    <a:pt x="146" y="134"/>
                  </a:lnTo>
                  <a:lnTo>
                    <a:pt x="120" y="127"/>
                  </a:lnTo>
                  <a:lnTo>
                    <a:pt x="114" y="127"/>
                  </a:lnTo>
                  <a:lnTo>
                    <a:pt x="97" y="114"/>
                  </a:lnTo>
                  <a:lnTo>
                    <a:pt x="97" y="110"/>
                  </a:lnTo>
                  <a:lnTo>
                    <a:pt x="92" y="110"/>
                  </a:lnTo>
                  <a:lnTo>
                    <a:pt x="88" y="104"/>
                  </a:lnTo>
                  <a:lnTo>
                    <a:pt x="82" y="89"/>
                  </a:lnTo>
                  <a:lnTo>
                    <a:pt x="75" y="89"/>
                  </a:lnTo>
                  <a:lnTo>
                    <a:pt x="73" y="89"/>
                  </a:lnTo>
                  <a:lnTo>
                    <a:pt x="62" y="89"/>
                  </a:lnTo>
                  <a:lnTo>
                    <a:pt x="60" y="80"/>
                  </a:lnTo>
                  <a:lnTo>
                    <a:pt x="58" y="80"/>
                  </a:lnTo>
                  <a:lnTo>
                    <a:pt x="56" y="84"/>
                  </a:lnTo>
                  <a:lnTo>
                    <a:pt x="51" y="84"/>
                  </a:lnTo>
                  <a:lnTo>
                    <a:pt x="45" y="80"/>
                  </a:lnTo>
                  <a:lnTo>
                    <a:pt x="47" y="91"/>
                  </a:lnTo>
                  <a:lnTo>
                    <a:pt x="43" y="91"/>
                  </a:lnTo>
                  <a:lnTo>
                    <a:pt x="43" y="95"/>
                  </a:lnTo>
                  <a:lnTo>
                    <a:pt x="28" y="95"/>
                  </a:lnTo>
                  <a:lnTo>
                    <a:pt x="32" y="97"/>
                  </a:lnTo>
                  <a:lnTo>
                    <a:pt x="41" y="106"/>
                  </a:lnTo>
                  <a:lnTo>
                    <a:pt x="28" y="112"/>
                  </a:lnTo>
                  <a:lnTo>
                    <a:pt x="0" y="11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7" name="Freeform 280"/>
            <p:cNvSpPr>
              <a:spLocks noChangeAspect="1"/>
            </p:cNvSpPr>
            <p:nvPr/>
          </p:nvSpPr>
          <p:spPr bwMode="auto">
            <a:xfrm>
              <a:off x="5280" y="2768"/>
              <a:ext cx="76" cy="37"/>
            </a:xfrm>
            <a:custGeom>
              <a:avLst/>
              <a:gdLst>
                <a:gd name="T0" fmla="*/ 265 w 69"/>
                <a:gd name="T1" fmla="*/ 37 h 37"/>
                <a:gd name="T2" fmla="*/ 176 w 69"/>
                <a:gd name="T3" fmla="*/ 37 h 37"/>
                <a:gd name="T4" fmla="*/ 145 w 69"/>
                <a:gd name="T5" fmla="*/ 32 h 37"/>
                <a:gd name="T6" fmla="*/ 99 w 69"/>
                <a:gd name="T7" fmla="*/ 32 h 37"/>
                <a:gd name="T8" fmla="*/ 45 w 69"/>
                <a:gd name="T9" fmla="*/ 30 h 37"/>
                <a:gd name="T10" fmla="*/ 0 w 69"/>
                <a:gd name="T11" fmla="*/ 26 h 37"/>
                <a:gd name="T12" fmla="*/ 0 w 69"/>
                <a:gd name="T13" fmla="*/ 21 h 37"/>
                <a:gd name="T14" fmla="*/ 4 w 69"/>
                <a:gd name="T15" fmla="*/ 24 h 37"/>
                <a:gd name="T16" fmla="*/ 67 w 69"/>
                <a:gd name="T17" fmla="*/ 21 h 37"/>
                <a:gd name="T18" fmla="*/ 120 w 69"/>
                <a:gd name="T19" fmla="*/ 24 h 37"/>
                <a:gd name="T20" fmla="*/ 187 w 69"/>
                <a:gd name="T21" fmla="*/ 21 h 37"/>
                <a:gd name="T22" fmla="*/ 219 w 69"/>
                <a:gd name="T23" fmla="*/ 15 h 37"/>
                <a:gd name="T24" fmla="*/ 236 w 69"/>
                <a:gd name="T25" fmla="*/ 24 h 37"/>
                <a:gd name="T26" fmla="*/ 265 w 69"/>
                <a:gd name="T27" fmla="*/ 21 h 37"/>
                <a:gd name="T28" fmla="*/ 303 w 69"/>
                <a:gd name="T29" fmla="*/ 24 h 37"/>
                <a:gd name="T30" fmla="*/ 337 w 69"/>
                <a:gd name="T31" fmla="*/ 21 h 37"/>
                <a:gd name="T32" fmla="*/ 348 w 69"/>
                <a:gd name="T33" fmla="*/ 15 h 37"/>
                <a:gd name="T34" fmla="*/ 421 w 69"/>
                <a:gd name="T35" fmla="*/ 15 h 37"/>
                <a:gd name="T36" fmla="*/ 446 w 69"/>
                <a:gd name="T37" fmla="*/ 11 h 37"/>
                <a:gd name="T38" fmla="*/ 421 w 69"/>
                <a:gd name="T39" fmla="*/ 2 h 37"/>
                <a:gd name="T40" fmla="*/ 511 w 69"/>
                <a:gd name="T41" fmla="*/ 0 h 37"/>
                <a:gd name="T42" fmla="*/ 546 w 69"/>
                <a:gd name="T43" fmla="*/ 2 h 37"/>
                <a:gd name="T44" fmla="*/ 546 w 69"/>
                <a:gd name="T45" fmla="*/ 11 h 37"/>
                <a:gd name="T46" fmla="*/ 492 w 69"/>
                <a:gd name="T47" fmla="*/ 15 h 37"/>
                <a:gd name="T48" fmla="*/ 492 w 69"/>
                <a:gd name="T49" fmla="*/ 21 h 37"/>
                <a:gd name="T50" fmla="*/ 446 w 69"/>
                <a:gd name="T51" fmla="*/ 24 h 37"/>
                <a:gd name="T52" fmla="*/ 421 w 69"/>
                <a:gd name="T53" fmla="*/ 24 h 37"/>
                <a:gd name="T54" fmla="*/ 391 w 69"/>
                <a:gd name="T55" fmla="*/ 26 h 37"/>
                <a:gd name="T56" fmla="*/ 265 w 69"/>
                <a:gd name="T57" fmla="*/ 37 h 3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9"/>
                <a:gd name="T88" fmla="*/ 0 h 37"/>
                <a:gd name="T89" fmla="*/ 69 w 69"/>
                <a:gd name="T90" fmla="*/ 37 h 3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9" h="37">
                  <a:moveTo>
                    <a:pt x="34" y="37"/>
                  </a:moveTo>
                  <a:lnTo>
                    <a:pt x="21" y="37"/>
                  </a:lnTo>
                  <a:lnTo>
                    <a:pt x="19" y="32"/>
                  </a:lnTo>
                  <a:lnTo>
                    <a:pt x="12" y="32"/>
                  </a:lnTo>
                  <a:lnTo>
                    <a:pt x="6" y="30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4" y="24"/>
                  </a:lnTo>
                  <a:lnTo>
                    <a:pt x="8" y="21"/>
                  </a:lnTo>
                  <a:lnTo>
                    <a:pt x="15" y="24"/>
                  </a:lnTo>
                  <a:lnTo>
                    <a:pt x="23" y="21"/>
                  </a:lnTo>
                  <a:lnTo>
                    <a:pt x="28" y="15"/>
                  </a:lnTo>
                  <a:lnTo>
                    <a:pt x="30" y="24"/>
                  </a:lnTo>
                  <a:lnTo>
                    <a:pt x="34" y="21"/>
                  </a:lnTo>
                  <a:lnTo>
                    <a:pt x="38" y="24"/>
                  </a:lnTo>
                  <a:lnTo>
                    <a:pt x="43" y="21"/>
                  </a:lnTo>
                  <a:lnTo>
                    <a:pt x="45" y="15"/>
                  </a:lnTo>
                  <a:lnTo>
                    <a:pt x="53" y="15"/>
                  </a:lnTo>
                  <a:lnTo>
                    <a:pt x="56" y="11"/>
                  </a:lnTo>
                  <a:lnTo>
                    <a:pt x="53" y="2"/>
                  </a:lnTo>
                  <a:lnTo>
                    <a:pt x="64" y="0"/>
                  </a:lnTo>
                  <a:lnTo>
                    <a:pt x="69" y="2"/>
                  </a:lnTo>
                  <a:lnTo>
                    <a:pt x="69" y="11"/>
                  </a:lnTo>
                  <a:lnTo>
                    <a:pt x="62" y="15"/>
                  </a:lnTo>
                  <a:lnTo>
                    <a:pt x="62" y="21"/>
                  </a:lnTo>
                  <a:lnTo>
                    <a:pt x="56" y="24"/>
                  </a:lnTo>
                  <a:lnTo>
                    <a:pt x="53" y="24"/>
                  </a:lnTo>
                  <a:lnTo>
                    <a:pt x="49" y="26"/>
                  </a:lnTo>
                  <a:lnTo>
                    <a:pt x="34" y="37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8" name="Freeform 281"/>
            <p:cNvSpPr>
              <a:spLocks noChangeAspect="1"/>
            </p:cNvSpPr>
            <p:nvPr/>
          </p:nvSpPr>
          <p:spPr bwMode="auto">
            <a:xfrm>
              <a:off x="5325" y="2739"/>
              <a:ext cx="40" cy="42"/>
            </a:xfrm>
            <a:custGeom>
              <a:avLst/>
              <a:gdLst>
                <a:gd name="T0" fmla="*/ 311 w 36"/>
                <a:gd name="T1" fmla="*/ 61 h 41"/>
                <a:gd name="T2" fmla="*/ 311 w 36"/>
                <a:gd name="T3" fmla="*/ 54 h 41"/>
                <a:gd name="T4" fmla="*/ 287 w 36"/>
                <a:gd name="T5" fmla="*/ 46 h 41"/>
                <a:gd name="T6" fmla="*/ 204 w 36"/>
                <a:gd name="T7" fmla="*/ 15 h 41"/>
                <a:gd name="T8" fmla="*/ 51 w 36"/>
                <a:gd name="T9" fmla="*/ 6 h 41"/>
                <a:gd name="T10" fmla="*/ 0 w 36"/>
                <a:gd name="T11" fmla="*/ 4 h 41"/>
                <a:gd name="T12" fmla="*/ 0 w 36"/>
                <a:gd name="T13" fmla="*/ 0 h 41"/>
                <a:gd name="T14" fmla="*/ 224 w 36"/>
                <a:gd name="T15" fmla="*/ 11 h 41"/>
                <a:gd name="T16" fmla="*/ 311 w 36"/>
                <a:gd name="T17" fmla="*/ 41 h 41"/>
                <a:gd name="T18" fmla="*/ 311 w 36"/>
                <a:gd name="T19" fmla="*/ 46 h 41"/>
                <a:gd name="T20" fmla="*/ 346 w 36"/>
                <a:gd name="T21" fmla="*/ 54 h 41"/>
                <a:gd name="T22" fmla="*/ 311 w 36"/>
                <a:gd name="T23" fmla="*/ 61 h 4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"/>
                <a:gd name="T37" fmla="*/ 0 h 41"/>
                <a:gd name="T38" fmla="*/ 36 w 36"/>
                <a:gd name="T39" fmla="*/ 41 h 4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" h="41">
                  <a:moveTo>
                    <a:pt x="32" y="41"/>
                  </a:moveTo>
                  <a:lnTo>
                    <a:pt x="32" y="34"/>
                  </a:lnTo>
                  <a:lnTo>
                    <a:pt x="30" y="26"/>
                  </a:lnTo>
                  <a:lnTo>
                    <a:pt x="21" y="15"/>
                  </a:lnTo>
                  <a:lnTo>
                    <a:pt x="6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3" y="11"/>
                  </a:lnTo>
                  <a:lnTo>
                    <a:pt x="32" y="21"/>
                  </a:lnTo>
                  <a:lnTo>
                    <a:pt x="32" y="26"/>
                  </a:lnTo>
                  <a:lnTo>
                    <a:pt x="36" y="34"/>
                  </a:lnTo>
                  <a:lnTo>
                    <a:pt x="32" y="4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19" name="Freeform 282"/>
            <p:cNvSpPr>
              <a:spLocks noChangeAspect="1"/>
            </p:cNvSpPr>
            <p:nvPr/>
          </p:nvSpPr>
          <p:spPr bwMode="auto">
            <a:xfrm>
              <a:off x="5391" y="2783"/>
              <a:ext cx="25" cy="32"/>
            </a:xfrm>
            <a:custGeom>
              <a:avLst/>
              <a:gdLst>
                <a:gd name="T0" fmla="*/ 343 w 22"/>
                <a:gd name="T1" fmla="*/ 32 h 32"/>
                <a:gd name="T2" fmla="*/ 168 w 22"/>
                <a:gd name="T3" fmla="*/ 32 h 32"/>
                <a:gd name="T4" fmla="*/ 95 w 22"/>
                <a:gd name="T5" fmla="*/ 22 h 32"/>
                <a:gd name="T6" fmla="*/ 2 w 22"/>
                <a:gd name="T7" fmla="*/ 17 h 32"/>
                <a:gd name="T8" fmla="*/ 2 w 22"/>
                <a:gd name="T9" fmla="*/ 9 h 32"/>
                <a:gd name="T10" fmla="*/ 0 w 22"/>
                <a:gd name="T11" fmla="*/ 6 h 32"/>
                <a:gd name="T12" fmla="*/ 0 w 22"/>
                <a:gd name="T13" fmla="*/ 0 h 32"/>
                <a:gd name="T14" fmla="*/ 2 w 22"/>
                <a:gd name="T15" fmla="*/ 6 h 32"/>
                <a:gd name="T16" fmla="*/ 95 w 22"/>
                <a:gd name="T17" fmla="*/ 9 h 32"/>
                <a:gd name="T18" fmla="*/ 168 w 22"/>
                <a:gd name="T19" fmla="*/ 11 h 32"/>
                <a:gd name="T20" fmla="*/ 217 w 22"/>
                <a:gd name="T21" fmla="*/ 17 h 32"/>
                <a:gd name="T22" fmla="*/ 268 w 22"/>
                <a:gd name="T23" fmla="*/ 22 h 32"/>
                <a:gd name="T24" fmla="*/ 343 w 22"/>
                <a:gd name="T25" fmla="*/ 28 h 32"/>
                <a:gd name="T26" fmla="*/ 343 w 22"/>
                <a:gd name="T27" fmla="*/ 32 h 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32"/>
                <a:gd name="T44" fmla="*/ 22 w 22"/>
                <a:gd name="T45" fmla="*/ 32 h 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32">
                  <a:moveTo>
                    <a:pt x="22" y="32"/>
                  </a:moveTo>
                  <a:lnTo>
                    <a:pt x="11" y="32"/>
                  </a:lnTo>
                  <a:lnTo>
                    <a:pt x="6" y="22"/>
                  </a:lnTo>
                  <a:lnTo>
                    <a:pt x="2" y="17"/>
                  </a:lnTo>
                  <a:lnTo>
                    <a:pt x="2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2" y="6"/>
                  </a:lnTo>
                  <a:lnTo>
                    <a:pt x="6" y="9"/>
                  </a:lnTo>
                  <a:lnTo>
                    <a:pt x="11" y="11"/>
                  </a:lnTo>
                  <a:lnTo>
                    <a:pt x="15" y="17"/>
                  </a:lnTo>
                  <a:lnTo>
                    <a:pt x="17" y="22"/>
                  </a:lnTo>
                  <a:lnTo>
                    <a:pt x="22" y="28"/>
                  </a:lnTo>
                  <a:lnTo>
                    <a:pt x="22" y="32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0" name="Freeform 283"/>
            <p:cNvSpPr>
              <a:spLocks noChangeAspect="1"/>
            </p:cNvSpPr>
            <p:nvPr/>
          </p:nvSpPr>
          <p:spPr bwMode="auto">
            <a:xfrm>
              <a:off x="5500" y="2842"/>
              <a:ext cx="14" cy="28"/>
            </a:xfrm>
            <a:custGeom>
              <a:avLst/>
              <a:gdLst>
                <a:gd name="T0" fmla="*/ 62 w 13"/>
                <a:gd name="T1" fmla="*/ 28 h 28"/>
                <a:gd name="T2" fmla="*/ 46 w 13"/>
                <a:gd name="T3" fmla="*/ 20 h 28"/>
                <a:gd name="T4" fmla="*/ 0 w 13"/>
                <a:gd name="T5" fmla="*/ 13 h 28"/>
                <a:gd name="T6" fmla="*/ 0 w 13"/>
                <a:gd name="T7" fmla="*/ 0 h 28"/>
                <a:gd name="T8" fmla="*/ 5 w 13"/>
                <a:gd name="T9" fmla="*/ 0 h 28"/>
                <a:gd name="T10" fmla="*/ 40 w 13"/>
                <a:gd name="T11" fmla="*/ 7 h 28"/>
                <a:gd name="T12" fmla="*/ 46 w 13"/>
                <a:gd name="T13" fmla="*/ 9 h 28"/>
                <a:gd name="T14" fmla="*/ 62 w 13"/>
                <a:gd name="T15" fmla="*/ 20 h 28"/>
                <a:gd name="T16" fmla="*/ 62 w 13"/>
                <a:gd name="T17" fmla="*/ 28 h 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28"/>
                <a:gd name="T29" fmla="*/ 13 w 13"/>
                <a:gd name="T30" fmla="*/ 28 h 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28">
                  <a:moveTo>
                    <a:pt x="13" y="28"/>
                  </a:moveTo>
                  <a:lnTo>
                    <a:pt x="9" y="20"/>
                  </a:lnTo>
                  <a:lnTo>
                    <a:pt x="0" y="13"/>
                  </a:lnTo>
                  <a:lnTo>
                    <a:pt x="0" y="0"/>
                  </a:lnTo>
                  <a:lnTo>
                    <a:pt x="5" y="0"/>
                  </a:lnTo>
                  <a:lnTo>
                    <a:pt x="7" y="7"/>
                  </a:lnTo>
                  <a:lnTo>
                    <a:pt x="9" y="9"/>
                  </a:lnTo>
                  <a:lnTo>
                    <a:pt x="13" y="20"/>
                  </a:lnTo>
                  <a:lnTo>
                    <a:pt x="13" y="2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1" name="Freeform 284"/>
            <p:cNvSpPr>
              <a:spLocks noChangeAspect="1"/>
            </p:cNvSpPr>
            <p:nvPr/>
          </p:nvSpPr>
          <p:spPr bwMode="auto">
            <a:xfrm>
              <a:off x="5460" y="2831"/>
              <a:ext cx="26" cy="16"/>
            </a:xfrm>
            <a:custGeom>
              <a:avLst/>
              <a:gdLst>
                <a:gd name="T0" fmla="*/ 326 w 23"/>
                <a:gd name="T1" fmla="*/ 16 h 16"/>
                <a:gd name="T2" fmla="*/ 229 w 23"/>
                <a:gd name="T3" fmla="*/ 11 h 16"/>
                <a:gd name="T4" fmla="*/ 111 w 23"/>
                <a:gd name="T5" fmla="*/ 7 h 16"/>
                <a:gd name="T6" fmla="*/ 0 w 23"/>
                <a:gd name="T7" fmla="*/ 0 h 16"/>
                <a:gd name="T8" fmla="*/ 53 w 23"/>
                <a:gd name="T9" fmla="*/ 0 h 16"/>
                <a:gd name="T10" fmla="*/ 111 w 23"/>
                <a:gd name="T11" fmla="*/ 5 h 16"/>
                <a:gd name="T12" fmla="*/ 229 w 23"/>
                <a:gd name="T13" fmla="*/ 5 h 16"/>
                <a:gd name="T14" fmla="*/ 326 w 23"/>
                <a:gd name="T15" fmla="*/ 16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3"/>
                <a:gd name="T25" fmla="*/ 0 h 16"/>
                <a:gd name="T26" fmla="*/ 23 w 23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3" h="16">
                  <a:moveTo>
                    <a:pt x="23" y="16"/>
                  </a:moveTo>
                  <a:lnTo>
                    <a:pt x="17" y="11"/>
                  </a:lnTo>
                  <a:lnTo>
                    <a:pt x="8" y="7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5"/>
                  </a:lnTo>
                  <a:lnTo>
                    <a:pt x="17" y="5"/>
                  </a:lnTo>
                  <a:lnTo>
                    <a:pt x="23" y="1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2" name="Freeform 285"/>
            <p:cNvSpPr>
              <a:spLocks noChangeAspect="1"/>
            </p:cNvSpPr>
            <p:nvPr/>
          </p:nvSpPr>
          <p:spPr bwMode="auto">
            <a:xfrm>
              <a:off x="5480" y="2862"/>
              <a:ext cx="20" cy="6"/>
            </a:xfrm>
            <a:custGeom>
              <a:avLst/>
              <a:gdLst>
                <a:gd name="T0" fmla="*/ 55 w 19"/>
                <a:gd name="T1" fmla="*/ 6 h 6"/>
                <a:gd name="T2" fmla="*/ 41 w 19"/>
                <a:gd name="T3" fmla="*/ 6 h 6"/>
                <a:gd name="T4" fmla="*/ 2 w 19"/>
                <a:gd name="T5" fmla="*/ 6 h 6"/>
                <a:gd name="T6" fmla="*/ 0 w 19"/>
                <a:gd name="T7" fmla="*/ 0 h 6"/>
                <a:gd name="T8" fmla="*/ 49 w 19"/>
                <a:gd name="T9" fmla="*/ 0 h 6"/>
                <a:gd name="T10" fmla="*/ 55 w 19"/>
                <a:gd name="T11" fmla="*/ 6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6"/>
                <a:gd name="T20" fmla="*/ 19 w 1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6">
                  <a:moveTo>
                    <a:pt x="19" y="6"/>
                  </a:moveTo>
                  <a:lnTo>
                    <a:pt x="13" y="6"/>
                  </a:lnTo>
                  <a:lnTo>
                    <a:pt x="2" y="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9" y="6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3" name="Freeform 286"/>
            <p:cNvSpPr>
              <a:spLocks noChangeAspect="1"/>
            </p:cNvSpPr>
            <p:nvPr/>
          </p:nvSpPr>
          <p:spPr bwMode="auto">
            <a:xfrm>
              <a:off x="5425" y="2811"/>
              <a:ext cx="18" cy="13"/>
            </a:xfrm>
            <a:custGeom>
              <a:avLst/>
              <a:gdLst>
                <a:gd name="T0" fmla="*/ 40 w 17"/>
                <a:gd name="T1" fmla="*/ 13 h 13"/>
                <a:gd name="T2" fmla="*/ 2 w 17"/>
                <a:gd name="T3" fmla="*/ 6 h 13"/>
                <a:gd name="T4" fmla="*/ 0 w 17"/>
                <a:gd name="T5" fmla="*/ 0 h 13"/>
                <a:gd name="T6" fmla="*/ 7 w 17"/>
                <a:gd name="T7" fmla="*/ 4 h 13"/>
                <a:gd name="T8" fmla="*/ 40 w 17"/>
                <a:gd name="T9" fmla="*/ 6 h 13"/>
                <a:gd name="T10" fmla="*/ 56 w 17"/>
                <a:gd name="T11" fmla="*/ 13 h 13"/>
                <a:gd name="T12" fmla="*/ 40 w 17"/>
                <a:gd name="T13" fmla="*/ 13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3"/>
                <a:gd name="T23" fmla="*/ 17 w 17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3">
                  <a:moveTo>
                    <a:pt x="11" y="13"/>
                  </a:moveTo>
                  <a:lnTo>
                    <a:pt x="2" y="6"/>
                  </a:lnTo>
                  <a:lnTo>
                    <a:pt x="0" y="0"/>
                  </a:lnTo>
                  <a:lnTo>
                    <a:pt x="7" y="4"/>
                  </a:lnTo>
                  <a:lnTo>
                    <a:pt x="11" y="6"/>
                  </a:lnTo>
                  <a:lnTo>
                    <a:pt x="17" y="13"/>
                  </a:lnTo>
                  <a:lnTo>
                    <a:pt x="11" y="13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4" name="Freeform 289"/>
            <p:cNvSpPr>
              <a:spLocks noChangeAspect="1"/>
            </p:cNvSpPr>
            <p:nvPr/>
          </p:nvSpPr>
          <p:spPr bwMode="auto">
            <a:xfrm>
              <a:off x="5087" y="3516"/>
              <a:ext cx="64" cy="76"/>
            </a:xfrm>
            <a:custGeom>
              <a:avLst/>
              <a:gdLst>
                <a:gd name="T0" fmla="*/ 125 w 58"/>
                <a:gd name="T1" fmla="*/ 95 h 75"/>
                <a:gd name="T2" fmla="*/ 68 w 58"/>
                <a:gd name="T3" fmla="*/ 93 h 75"/>
                <a:gd name="T4" fmla="*/ 56 w 58"/>
                <a:gd name="T5" fmla="*/ 89 h 75"/>
                <a:gd name="T6" fmla="*/ 68 w 58"/>
                <a:gd name="T7" fmla="*/ 89 h 75"/>
                <a:gd name="T8" fmla="*/ 68 w 58"/>
                <a:gd name="T9" fmla="*/ 85 h 75"/>
                <a:gd name="T10" fmla="*/ 4 w 58"/>
                <a:gd name="T11" fmla="*/ 83 h 75"/>
                <a:gd name="T12" fmla="*/ 0 w 58"/>
                <a:gd name="T13" fmla="*/ 74 h 75"/>
                <a:gd name="T14" fmla="*/ 4 w 58"/>
                <a:gd name="T15" fmla="*/ 61 h 75"/>
                <a:gd name="T16" fmla="*/ 56 w 58"/>
                <a:gd name="T17" fmla="*/ 63 h 75"/>
                <a:gd name="T18" fmla="*/ 56 w 58"/>
                <a:gd name="T19" fmla="*/ 61 h 75"/>
                <a:gd name="T20" fmla="*/ 4 w 58"/>
                <a:gd name="T21" fmla="*/ 6 h 75"/>
                <a:gd name="T22" fmla="*/ 56 w 58"/>
                <a:gd name="T23" fmla="*/ 0 h 75"/>
                <a:gd name="T24" fmla="*/ 68 w 58"/>
                <a:gd name="T25" fmla="*/ 0 h 75"/>
                <a:gd name="T26" fmla="*/ 113 w 58"/>
                <a:gd name="T27" fmla="*/ 4 h 75"/>
                <a:gd name="T28" fmla="*/ 185 w 58"/>
                <a:gd name="T29" fmla="*/ 9 h 75"/>
                <a:gd name="T30" fmla="*/ 289 w 58"/>
                <a:gd name="T31" fmla="*/ 13 h 75"/>
                <a:gd name="T32" fmla="*/ 378 w 58"/>
                <a:gd name="T33" fmla="*/ 9 h 75"/>
                <a:gd name="T34" fmla="*/ 417 w 58"/>
                <a:gd name="T35" fmla="*/ 9 h 75"/>
                <a:gd name="T36" fmla="*/ 493 w 58"/>
                <a:gd name="T37" fmla="*/ 6 h 75"/>
                <a:gd name="T38" fmla="*/ 493 w 58"/>
                <a:gd name="T39" fmla="*/ 9 h 75"/>
                <a:gd name="T40" fmla="*/ 430 w 58"/>
                <a:gd name="T41" fmla="*/ 63 h 75"/>
                <a:gd name="T42" fmla="*/ 417 w 58"/>
                <a:gd name="T43" fmla="*/ 63 h 75"/>
                <a:gd name="T44" fmla="*/ 417 w 58"/>
                <a:gd name="T45" fmla="*/ 61 h 75"/>
                <a:gd name="T46" fmla="*/ 378 w 58"/>
                <a:gd name="T47" fmla="*/ 63 h 75"/>
                <a:gd name="T48" fmla="*/ 378 w 58"/>
                <a:gd name="T49" fmla="*/ 70 h 75"/>
                <a:gd name="T50" fmla="*/ 367 w 58"/>
                <a:gd name="T51" fmla="*/ 76 h 75"/>
                <a:gd name="T52" fmla="*/ 333 w 58"/>
                <a:gd name="T53" fmla="*/ 85 h 75"/>
                <a:gd name="T54" fmla="*/ 289 w 58"/>
                <a:gd name="T55" fmla="*/ 89 h 75"/>
                <a:gd name="T56" fmla="*/ 289 w 58"/>
                <a:gd name="T57" fmla="*/ 83 h 75"/>
                <a:gd name="T58" fmla="*/ 289 w 58"/>
                <a:gd name="T59" fmla="*/ 83 h 75"/>
                <a:gd name="T60" fmla="*/ 289 w 58"/>
                <a:gd name="T61" fmla="*/ 76 h 75"/>
                <a:gd name="T62" fmla="*/ 289 w 58"/>
                <a:gd name="T63" fmla="*/ 76 h 75"/>
                <a:gd name="T64" fmla="*/ 237 w 58"/>
                <a:gd name="T65" fmla="*/ 85 h 75"/>
                <a:gd name="T66" fmla="*/ 195 w 58"/>
                <a:gd name="T67" fmla="*/ 85 h 75"/>
                <a:gd name="T68" fmla="*/ 185 w 58"/>
                <a:gd name="T69" fmla="*/ 95 h 75"/>
                <a:gd name="T70" fmla="*/ 125 w 58"/>
                <a:gd name="T71" fmla="*/ 95 h 7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8"/>
                <a:gd name="T109" fmla="*/ 0 h 75"/>
                <a:gd name="T110" fmla="*/ 58 w 58"/>
                <a:gd name="T111" fmla="*/ 75 h 7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8" h="75">
                  <a:moveTo>
                    <a:pt x="15" y="75"/>
                  </a:moveTo>
                  <a:lnTo>
                    <a:pt x="8" y="73"/>
                  </a:lnTo>
                  <a:lnTo>
                    <a:pt x="6" y="69"/>
                  </a:lnTo>
                  <a:lnTo>
                    <a:pt x="8" y="69"/>
                  </a:lnTo>
                  <a:lnTo>
                    <a:pt x="8" y="65"/>
                  </a:lnTo>
                  <a:lnTo>
                    <a:pt x="4" y="63"/>
                  </a:lnTo>
                  <a:lnTo>
                    <a:pt x="0" y="54"/>
                  </a:lnTo>
                  <a:lnTo>
                    <a:pt x="4" y="41"/>
                  </a:lnTo>
                  <a:lnTo>
                    <a:pt x="6" y="43"/>
                  </a:lnTo>
                  <a:lnTo>
                    <a:pt x="6" y="41"/>
                  </a:lnTo>
                  <a:lnTo>
                    <a:pt x="4" y="6"/>
                  </a:lnTo>
                  <a:lnTo>
                    <a:pt x="6" y="0"/>
                  </a:lnTo>
                  <a:lnTo>
                    <a:pt x="8" y="0"/>
                  </a:lnTo>
                  <a:lnTo>
                    <a:pt x="13" y="4"/>
                  </a:lnTo>
                  <a:lnTo>
                    <a:pt x="21" y="9"/>
                  </a:lnTo>
                  <a:lnTo>
                    <a:pt x="34" y="13"/>
                  </a:lnTo>
                  <a:lnTo>
                    <a:pt x="45" y="9"/>
                  </a:lnTo>
                  <a:lnTo>
                    <a:pt x="49" y="9"/>
                  </a:lnTo>
                  <a:lnTo>
                    <a:pt x="58" y="6"/>
                  </a:lnTo>
                  <a:lnTo>
                    <a:pt x="58" y="9"/>
                  </a:lnTo>
                  <a:lnTo>
                    <a:pt x="52" y="43"/>
                  </a:lnTo>
                  <a:lnTo>
                    <a:pt x="49" y="43"/>
                  </a:lnTo>
                  <a:lnTo>
                    <a:pt x="49" y="41"/>
                  </a:lnTo>
                  <a:lnTo>
                    <a:pt x="45" y="43"/>
                  </a:lnTo>
                  <a:lnTo>
                    <a:pt x="45" y="50"/>
                  </a:lnTo>
                  <a:lnTo>
                    <a:pt x="43" y="56"/>
                  </a:lnTo>
                  <a:lnTo>
                    <a:pt x="39" y="65"/>
                  </a:lnTo>
                  <a:lnTo>
                    <a:pt x="34" y="69"/>
                  </a:lnTo>
                  <a:lnTo>
                    <a:pt x="34" y="63"/>
                  </a:lnTo>
                  <a:lnTo>
                    <a:pt x="34" y="56"/>
                  </a:lnTo>
                  <a:lnTo>
                    <a:pt x="28" y="65"/>
                  </a:lnTo>
                  <a:lnTo>
                    <a:pt x="23" y="65"/>
                  </a:lnTo>
                  <a:lnTo>
                    <a:pt x="21" y="75"/>
                  </a:lnTo>
                  <a:lnTo>
                    <a:pt x="15" y="7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5" name="Freeform 290"/>
            <p:cNvSpPr>
              <a:spLocks noChangeAspect="1"/>
            </p:cNvSpPr>
            <p:nvPr/>
          </p:nvSpPr>
          <p:spPr bwMode="auto">
            <a:xfrm>
              <a:off x="3589" y="3044"/>
              <a:ext cx="10" cy="11"/>
            </a:xfrm>
            <a:custGeom>
              <a:avLst/>
              <a:gdLst>
                <a:gd name="T0" fmla="*/ 4 w 9"/>
                <a:gd name="T1" fmla="*/ 11 h 11"/>
                <a:gd name="T2" fmla="*/ 0 w 9"/>
                <a:gd name="T3" fmla="*/ 8 h 11"/>
                <a:gd name="T4" fmla="*/ 2 w 9"/>
                <a:gd name="T5" fmla="*/ 0 h 11"/>
                <a:gd name="T6" fmla="*/ 87 w 9"/>
                <a:gd name="T7" fmla="*/ 8 h 11"/>
                <a:gd name="T8" fmla="*/ 4 w 9"/>
                <a:gd name="T9" fmla="*/ 1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4" y="11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9" y="8"/>
                  </a:lnTo>
                  <a:lnTo>
                    <a:pt x="4" y="11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6" name="Freeform 291"/>
            <p:cNvSpPr>
              <a:spLocks noChangeAspect="1"/>
            </p:cNvSpPr>
            <p:nvPr/>
          </p:nvSpPr>
          <p:spPr bwMode="auto">
            <a:xfrm>
              <a:off x="5537" y="3069"/>
              <a:ext cx="30" cy="49"/>
            </a:xfrm>
            <a:custGeom>
              <a:avLst/>
              <a:gdLst>
                <a:gd name="T0" fmla="*/ 125 w 28"/>
                <a:gd name="T1" fmla="*/ 49 h 49"/>
                <a:gd name="T2" fmla="*/ 87 w 28"/>
                <a:gd name="T3" fmla="*/ 45 h 49"/>
                <a:gd name="T4" fmla="*/ 87 w 28"/>
                <a:gd name="T5" fmla="*/ 38 h 49"/>
                <a:gd name="T6" fmla="*/ 47 w 28"/>
                <a:gd name="T7" fmla="*/ 32 h 49"/>
                <a:gd name="T8" fmla="*/ 4 w 28"/>
                <a:gd name="T9" fmla="*/ 15 h 49"/>
                <a:gd name="T10" fmla="*/ 0 w 28"/>
                <a:gd name="T11" fmla="*/ 0 h 49"/>
                <a:gd name="T12" fmla="*/ 4 w 28"/>
                <a:gd name="T13" fmla="*/ 2 h 49"/>
                <a:gd name="T14" fmla="*/ 47 w 28"/>
                <a:gd name="T15" fmla="*/ 15 h 49"/>
                <a:gd name="T16" fmla="*/ 66 w 28"/>
                <a:gd name="T17" fmla="*/ 17 h 49"/>
                <a:gd name="T18" fmla="*/ 66 w 28"/>
                <a:gd name="T19" fmla="*/ 23 h 49"/>
                <a:gd name="T20" fmla="*/ 87 w 28"/>
                <a:gd name="T21" fmla="*/ 30 h 49"/>
                <a:gd name="T22" fmla="*/ 125 w 28"/>
                <a:gd name="T23" fmla="*/ 41 h 49"/>
                <a:gd name="T24" fmla="*/ 125 w 28"/>
                <a:gd name="T25" fmla="*/ 49 h 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49"/>
                <a:gd name="T41" fmla="*/ 28 w 28"/>
                <a:gd name="T42" fmla="*/ 49 h 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49">
                  <a:moveTo>
                    <a:pt x="28" y="49"/>
                  </a:moveTo>
                  <a:lnTo>
                    <a:pt x="19" y="45"/>
                  </a:lnTo>
                  <a:lnTo>
                    <a:pt x="19" y="38"/>
                  </a:lnTo>
                  <a:lnTo>
                    <a:pt x="10" y="32"/>
                  </a:lnTo>
                  <a:lnTo>
                    <a:pt x="4" y="15"/>
                  </a:lnTo>
                  <a:lnTo>
                    <a:pt x="0" y="0"/>
                  </a:lnTo>
                  <a:lnTo>
                    <a:pt x="4" y="2"/>
                  </a:lnTo>
                  <a:lnTo>
                    <a:pt x="10" y="15"/>
                  </a:lnTo>
                  <a:lnTo>
                    <a:pt x="15" y="17"/>
                  </a:lnTo>
                  <a:lnTo>
                    <a:pt x="15" y="23"/>
                  </a:lnTo>
                  <a:lnTo>
                    <a:pt x="19" y="30"/>
                  </a:lnTo>
                  <a:lnTo>
                    <a:pt x="28" y="41"/>
                  </a:lnTo>
                  <a:lnTo>
                    <a:pt x="28" y="49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7" name="Freeform 293"/>
            <p:cNvSpPr>
              <a:spLocks noChangeAspect="1"/>
            </p:cNvSpPr>
            <p:nvPr/>
          </p:nvSpPr>
          <p:spPr bwMode="auto">
            <a:xfrm>
              <a:off x="2308" y="2118"/>
              <a:ext cx="12" cy="4"/>
            </a:xfrm>
            <a:custGeom>
              <a:avLst/>
              <a:gdLst>
                <a:gd name="T0" fmla="*/ 45 w 11"/>
                <a:gd name="T1" fmla="*/ 4 h 4"/>
                <a:gd name="T2" fmla="*/ 0 w 11"/>
                <a:gd name="T3" fmla="*/ 0 h 4"/>
                <a:gd name="T4" fmla="*/ 2 w 11"/>
                <a:gd name="T5" fmla="*/ 0 h 4"/>
                <a:gd name="T6" fmla="*/ 69 w 11"/>
                <a:gd name="T7" fmla="*/ 4 h 4"/>
                <a:gd name="T8" fmla="*/ 45 w 11"/>
                <a:gd name="T9" fmla="*/ 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4"/>
                <a:gd name="T17" fmla="*/ 11 w 1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4">
                  <a:moveTo>
                    <a:pt x="6" y="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11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8" name="Freeform 294"/>
            <p:cNvSpPr>
              <a:spLocks noChangeAspect="1"/>
            </p:cNvSpPr>
            <p:nvPr/>
          </p:nvSpPr>
          <p:spPr bwMode="auto">
            <a:xfrm>
              <a:off x="2310" y="2197"/>
              <a:ext cx="12" cy="8"/>
            </a:xfrm>
            <a:custGeom>
              <a:avLst/>
              <a:gdLst>
                <a:gd name="T0" fmla="*/ 4 w 11"/>
                <a:gd name="T1" fmla="*/ 8 h 8"/>
                <a:gd name="T2" fmla="*/ 0 w 11"/>
                <a:gd name="T3" fmla="*/ 2 h 8"/>
                <a:gd name="T4" fmla="*/ 69 w 11"/>
                <a:gd name="T5" fmla="*/ 0 h 8"/>
                <a:gd name="T6" fmla="*/ 58 w 11"/>
                <a:gd name="T7" fmla="*/ 4 h 8"/>
                <a:gd name="T8" fmla="*/ 4 w 11"/>
                <a:gd name="T9" fmla="*/ 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8"/>
                <a:gd name="T17" fmla="*/ 11 w 11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8">
                  <a:moveTo>
                    <a:pt x="4" y="8"/>
                  </a:moveTo>
                  <a:lnTo>
                    <a:pt x="0" y="2"/>
                  </a:lnTo>
                  <a:lnTo>
                    <a:pt x="11" y="0"/>
                  </a:lnTo>
                  <a:lnTo>
                    <a:pt x="9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29" name="Freeform 295"/>
            <p:cNvSpPr>
              <a:spLocks noChangeAspect="1"/>
            </p:cNvSpPr>
            <p:nvPr/>
          </p:nvSpPr>
          <p:spPr bwMode="auto">
            <a:xfrm>
              <a:off x="2331" y="2199"/>
              <a:ext cx="5" cy="8"/>
            </a:xfrm>
            <a:custGeom>
              <a:avLst/>
              <a:gdLst>
                <a:gd name="T0" fmla="*/ 3 w 5"/>
                <a:gd name="T1" fmla="*/ 8 h 8"/>
                <a:gd name="T2" fmla="*/ 0 w 5"/>
                <a:gd name="T3" fmla="*/ 6 h 8"/>
                <a:gd name="T4" fmla="*/ 5 w 5"/>
                <a:gd name="T5" fmla="*/ 0 h 8"/>
                <a:gd name="T6" fmla="*/ 3 w 5"/>
                <a:gd name="T7" fmla="*/ 8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8"/>
                <a:gd name="T14" fmla="*/ 5 w 5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8">
                  <a:moveTo>
                    <a:pt x="3" y="8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30" name="Freeform 297"/>
            <p:cNvSpPr>
              <a:spLocks noChangeAspect="1"/>
            </p:cNvSpPr>
            <p:nvPr/>
          </p:nvSpPr>
          <p:spPr bwMode="auto">
            <a:xfrm>
              <a:off x="4570" y="2627"/>
              <a:ext cx="181" cy="138"/>
            </a:xfrm>
            <a:custGeom>
              <a:avLst/>
              <a:gdLst>
                <a:gd name="T0" fmla="*/ 171 w 164"/>
                <a:gd name="T1" fmla="*/ 65 h 136"/>
                <a:gd name="T2" fmla="*/ 388 w 164"/>
                <a:gd name="T3" fmla="*/ 71 h 136"/>
                <a:gd name="T4" fmla="*/ 695 w 164"/>
                <a:gd name="T5" fmla="*/ 69 h 136"/>
                <a:gd name="T6" fmla="*/ 847 w 164"/>
                <a:gd name="T7" fmla="*/ 21 h 136"/>
                <a:gd name="T8" fmla="*/ 977 w 164"/>
                <a:gd name="T9" fmla="*/ 0 h 136"/>
                <a:gd name="T10" fmla="*/ 1199 w 164"/>
                <a:gd name="T11" fmla="*/ 6 h 136"/>
                <a:gd name="T12" fmla="*/ 1190 w 164"/>
                <a:gd name="T13" fmla="*/ 10 h 136"/>
                <a:gd name="T14" fmla="*/ 1183 w 164"/>
                <a:gd name="T15" fmla="*/ 15 h 136"/>
                <a:gd name="T16" fmla="*/ 1222 w 164"/>
                <a:gd name="T17" fmla="*/ 26 h 136"/>
                <a:gd name="T18" fmla="*/ 1199 w 164"/>
                <a:gd name="T19" fmla="*/ 54 h 136"/>
                <a:gd name="T20" fmla="*/ 1337 w 164"/>
                <a:gd name="T21" fmla="*/ 65 h 136"/>
                <a:gd name="T22" fmla="*/ 1361 w 164"/>
                <a:gd name="T23" fmla="*/ 71 h 136"/>
                <a:gd name="T24" fmla="*/ 1190 w 164"/>
                <a:gd name="T25" fmla="*/ 78 h 136"/>
                <a:gd name="T26" fmla="*/ 1190 w 164"/>
                <a:gd name="T27" fmla="*/ 100 h 136"/>
                <a:gd name="T28" fmla="*/ 1012 w 164"/>
                <a:gd name="T29" fmla="*/ 127 h 136"/>
                <a:gd name="T30" fmla="*/ 1012 w 164"/>
                <a:gd name="T31" fmla="*/ 154 h 136"/>
                <a:gd name="T32" fmla="*/ 767 w 164"/>
                <a:gd name="T33" fmla="*/ 178 h 136"/>
                <a:gd name="T34" fmla="*/ 695 w 164"/>
                <a:gd name="T35" fmla="*/ 163 h 136"/>
                <a:gd name="T36" fmla="*/ 635 w 164"/>
                <a:gd name="T37" fmla="*/ 156 h 136"/>
                <a:gd name="T38" fmla="*/ 560 w 164"/>
                <a:gd name="T39" fmla="*/ 156 h 136"/>
                <a:gd name="T40" fmla="*/ 502 w 164"/>
                <a:gd name="T41" fmla="*/ 163 h 136"/>
                <a:gd name="T42" fmla="*/ 420 w 164"/>
                <a:gd name="T43" fmla="*/ 165 h 136"/>
                <a:gd name="T44" fmla="*/ 333 w 164"/>
                <a:gd name="T45" fmla="*/ 154 h 136"/>
                <a:gd name="T46" fmla="*/ 215 w 164"/>
                <a:gd name="T47" fmla="*/ 154 h 136"/>
                <a:gd name="T48" fmla="*/ 189 w 164"/>
                <a:gd name="T49" fmla="*/ 145 h 136"/>
                <a:gd name="T50" fmla="*/ 171 w 164"/>
                <a:gd name="T51" fmla="*/ 109 h 136"/>
                <a:gd name="T52" fmla="*/ 62 w 164"/>
                <a:gd name="T53" fmla="*/ 100 h 136"/>
                <a:gd name="T54" fmla="*/ 3 w 164"/>
                <a:gd name="T55" fmla="*/ 93 h 136"/>
                <a:gd name="T56" fmla="*/ 0 w 164"/>
                <a:gd name="T57" fmla="*/ 80 h 136"/>
                <a:gd name="T58" fmla="*/ 3 w 164"/>
                <a:gd name="T59" fmla="*/ 61 h 136"/>
                <a:gd name="T60" fmla="*/ 75 w 164"/>
                <a:gd name="T61" fmla="*/ 54 h 136"/>
                <a:gd name="T62" fmla="*/ 125 w 164"/>
                <a:gd name="T63" fmla="*/ 56 h 1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4"/>
                <a:gd name="T97" fmla="*/ 0 h 136"/>
                <a:gd name="T98" fmla="*/ 164 w 164"/>
                <a:gd name="T99" fmla="*/ 136 h 1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4" h="136">
                  <a:moveTo>
                    <a:pt x="15" y="36"/>
                  </a:moveTo>
                  <a:lnTo>
                    <a:pt x="20" y="45"/>
                  </a:lnTo>
                  <a:lnTo>
                    <a:pt x="37" y="51"/>
                  </a:lnTo>
                  <a:lnTo>
                    <a:pt x="46" y="51"/>
                  </a:lnTo>
                  <a:lnTo>
                    <a:pt x="65" y="56"/>
                  </a:lnTo>
                  <a:lnTo>
                    <a:pt x="82" y="49"/>
                  </a:lnTo>
                  <a:lnTo>
                    <a:pt x="97" y="41"/>
                  </a:lnTo>
                  <a:lnTo>
                    <a:pt x="100" y="21"/>
                  </a:lnTo>
                  <a:lnTo>
                    <a:pt x="110" y="19"/>
                  </a:lnTo>
                  <a:lnTo>
                    <a:pt x="115" y="0"/>
                  </a:lnTo>
                  <a:lnTo>
                    <a:pt x="143" y="2"/>
                  </a:lnTo>
                  <a:lnTo>
                    <a:pt x="143" y="6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39" y="10"/>
                  </a:lnTo>
                  <a:lnTo>
                    <a:pt x="139" y="15"/>
                  </a:lnTo>
                  <a:lnTo>
                    <a:pt x="143" y="19"/>
                  </a:lnTo>
                  <a:lnTo>
                    <a:pt x="145" y="26"/>
                  </a:lnTo>
                  <a:lnTo>
                    <a:pt x="143" y="34"/>
                  </a:lnTo>
                  <a:lnTo>
                    <a:pt x="149" y="36"/>
                  </a:lnTo>
                  <a:lnTo>
                    <a:pt x="158" y="45"/>
                  </a:lnTo>
                  <a:lnTo>
                    <a:pt x="164" y="49"/>
                  </a:lnTo>
                  <a:lnTo>
                    <a:pt x="160" y="51"/>
                  </a:lnTo>
                  <a:lnTo>
                    <a:pt x="145" y="56"/>
                  </a:lnTo>
                  <a:lnTo>
                    <a:pt x="141" y="58"/>
                  </a:lnTo>
                  <a:lnTo>
                    <a:pt x="139" y="71"/>
                  </a:lnTo>
                  <a:lnTo>
                    <a:pt x="141" y="80"/>
                  </a:lnTo>
                  <a:lnTo>
                    <a:pt x="128" y="88"/>
                  </a:lnTo>
                  <a:lnTo>
                    <a:pt x="119" y="95"/>
                  </a:lnTo>
                  <a:lnTo>
                    <a:pt x="121" y="99"/>
                  </a:lnTo>
                  <a:lnTo>
                    <a:pt x="119" y="114"/>
                  </a:lnTo>
                  <a:lnTo>
                    <a:pt x="113" y="125"/>
                  </a:lnTo>
                  <a:lnTo>
                    <a:pt x="91" y="136"/>
                  </a:lnTo>
                  <a:lnTo>
                    <a:pt x="89" y="123"/>
                  </a:lnTo>
                  <a:lnTo>
                    <a:pt x="82" y="123"/>
                  </a:lnTo>
                  <a:lnTo>
                    <a:pt x="76" y="125"/>
                  </a:lnTo>
                  <a:lnTo>
                    <a:pt x="76" y="116"/>
                  </a:lnTo>
                  <a:lnTo>
                    <a:pt x="74" y="121"/>
                  </a:lnTo>
                  <a:lnTo>
                    <a:pt x="65" y="116"/>
                  </a:lnTo>
                  <a:lnTo>
                    <a:pt x="65" y="121"/>
                  </a:lnTo>
                  <a:lnTo>
                    <a:pt x="59" y="123"/>
                  </a:lnTo>
                  <a:lnTo>
                    <a:pt x="54" y="121"/>
                  </a:lnTo>
                  <a:lnTo>
                    <a:pt x="50" y="125"/>
                  </a:lnTo>
                  <a:lnTo>
                    <a:pt x="46" y="116"/>
                  </a:lnTo>
                  <a:lnTo>
                    <a:pt x="39" y="114"/>
                  </a:lnTo>
                  <a:lnTo>
                    <a:pt x="31" y="116"/>
                  </a:lnTo>
                  <a:lnTo>
                    <a:pt x="26" y="114"/>
                  </a:lnTo>
                  <a:lnTo>
                    <a:pt x="22" y="116"/>
                  </a:lnTo>
                  <a:lnTo>
                    <a:pt x="22" y="105"/>
                  </a:lnTo>
                  <a:lnTo>
                    <a:pt x="22" y="99"/>
                  </a:lnTo>
                  <a:lnTo>
                    <a:pt x="20" y="86"/>
                  </a:lnTo>
                  <a:lnTo>
                    <a:pt x="11" y="80"/>
                  </a:lnTo>
                  <a:lnTo>
                    <a:pt x="7" y="80"/>
                  </a:lnTo>
                  <a:lnTo>
                    <a:pt x="9" y="75"/>
                  </a:lnTo>
                  <a:lnTo>
                    <a:pt x="3" y="73"/>
                  </a:lnTo>
                  <a:lnTo>
                    <a:pt x="7" y="67"/>
                  </a:lnTo>
                  <a:lnTo>
                    <a:pt x="0" y="60"/>
                  </a:lnTo>
                  <a:lnTo>
                    <a:pt x="0" y="51"/>
                  </a:lnTo>
                  <a:lnTo>
                    <a:pt x="3" y="41"/>
                  </a:lnTo>
                  <a:lnTo>
                    <a:pt x="7" y="36"/>
                  </a:lnTo>
                  <a:lnTo>
                    <a:pt x="9" y="34"/>
                  </a:lnTo>
                  <a:lnTo>
                    <a:pt x="11" y="34"/>
                  </a:lnTo>
                  <a:lnTo>
                    <a:pt x="15" y="36"/>
                  </a:lnTo>
                  <a:close/>
                </a:path>
              </a:pathLst>
            </a:custGeom>
            <a:solidFill>
              <a:srgbClr val="0070C0"/>
            </a:solidFill>
            <a:ln w="4826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31" name="Freeform 298"/>
            <p:cNvSpPr>
              <a:spLocks noChangeAspect="1"/>
            </p:cNvSpPr>
            <p:nvPr/>
          </p:nvSpPr>
          <p:spPr bwMode="auto">
            <a:xfrm>
              <a:off x="2775" y="2642"/>
              <a:ext cx="38" cy="27"/>
            </a:xfrm>
            <a:custGeom>
              <a:avLst/>
              <a:gdLst>
                <a:gd name="T0" fmla="*/ 97 w 34"/>
                <a:gd name="T1" fmla="*/ 0 h 26"/>
                <a:gd name="T2" fmla="*/ 135 w 34"/>
                <a:gd name="T3" fmla="*/ 4 h 26"/>
                <a:gd name="T4" fmla="*/ 369 w 34"/>
                <a:gd name="T5" fmla="*/ 6 h 26"/>
                <a:gd name="T6" fmla="*/ 369 w 34"/>
                <a:gd name="T7" fmla="*/ 53 h 26"/>
                <a:gd name="T8" fmla="*/ 257 w 34"/>
                <a:gd name="T9" fmla="*/ 53 h 26"/>
                <a:gd name="T10" fmla="*/ 151 w 34"/>
                <a:gd name="T11" fmla="*/ 53 h 26"/>
                <a:gd name="T12" fmla="*/ 4 w 34"/>
                <a:gd name="T13" fmla="*/ 53 h 26"/>
                <a:gd name="T14" fmla="*/ 0 w 34"/>
                <a:gd name="T15" fmla="*/ 43 h 26"/>
                <a:gd name="T16" fmla="*/ 97 w 34"/>
                <a:gd name="T17" fmla="*/ 11 h 26"/>
                <a:gd name="T18" fmla="*/ 97 w 34"/>
                <a:gd name="T19" fmla="*/ 0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26"/>
                <a:gd name="T32" fmla="*/ 34 w 34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26">
                  <a:moveTo>
                    <a:pt x="9" y="0"/>
                  </a:moveTo>
                  <a:lnTo>
                    <a:pt x="13" y="4"/>
                  </a:lnTo>
                  <a:lnTo>
                    <a:pt x="34" y="6"/>
                  </a:lnTo>
                  <a:lnTo>
                    <a:pt x="34" y="26"/>
                  </a:lnTo>
                  <a:lnTo>
                    <a:pt x="24" y="26"/>
                  </a:lnTo>
                  <a:lnTo>
                    <a:pt x="15" y="26"/>
                  </a:lnTo>
                  <a:lnTo>
                    <a:pt x="4" y="26"/>
                  </a:lnTo>
                  <a:lnTo>
                    <a:pt x="0" y="21"/>
                  </a:lnTo>
                  <a:lnTo>
                    <a:pt x="9" y="11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4763" cap="rnd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</p:grpSp>
      <p:sp>
        <p:nvSpPr>
          <p:cNvPr id="232" name="TextBox 231"/>
          <p:cNvSpPr txBox="1"/>
          <p:nvPr/>
        </p:nvSpPr>
        <p:spPr>
          <a:xfrm>
            <a:off x="4716016" y="1484784"/>
            <a:ext cx="4427984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400" b="1" dirty="0" smtClean="0">
                <a:solidFill>
                  <a:srgbClr val="0070C0"/>
                </a:solidFill>
                <a:latin typeface="Etelka Light" pitchFamily="50" charset="0"/>
              </a:rPr>
              <a:t>Новая технология фильтрации «Синего»</a:t>
            </a:r>
            <a:endParaRPr lang="en-US" sz="1400" b="1" dirty="0" smtClean="0">
              <a:solidFill>
                <a:srgbClr val="0070C0"/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Молекулы вживлены в линзу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Фильтрация синего за счет поглощения, а не отражения (нет синего остаточног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о оттенка)</a:t>
            </a:r>
            <a:endParaRPr lang="ru-RU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Совместимо с любым покрытием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 smtClean="0">
                <a:solidFill>
                  <a:srgbClr val="0070C0"/>
                </a:solidFill>
                <a:latin typeface="Etelka Light" pitchFamily="50" charset="0"/>
              </a:rPr>
              <a:t>Основные причины успеха</a:t>
            </a:r>
            <a:endParaRPr lang="en-US" sz="1400" b="1" dirty="0" smtClean="0">
              <a:solidFill>
                <a:srgbClr val="0070C0"/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Просто презентовать</a:t>
            </a: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Защита от вредного УФ и части коротких вредных синих волн 400-420 нм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Лучшая наглядная реклама (коробка)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  <a:sym typeface="Wingdings" pitchFamily="2" charset="2"/>
            </a:endParaRPr>
          </a:p>
          <a:p>
            <a:pPr marL="800100" lvl="1" indent="-342900">
              <a:buFont typeface="Arial" pitchFamily="34" charset="0"/>
              <a:buChar char="‒"/>
            </a:pP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  <a:sym typeface="Wingdings" pitchFamily="2" charset="2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400" b="1" dirty="0" smtClean="0">
                <a:solidFill>
                  <a:srgbClr val="0070C0"/>
                </a:solidFill>
                <a:latin typeface="Etelka Light" pitchFamily="50" charset="0"/>
              </a:rPr>
              <a:t>Совершенность технологии</a:t>
            </a:r>
            <a:endParaRPr lang="en-US" sz="1400" b="1" dirty="0" smtClean="0">
              <a:solidFill>
                <a:srgbClr val="0070C0"/>
              </a:solidFill>
              <a:latin typeface="Etelka Light" pitchFamily="50" charset="0"/>
            </a:endParaRPr>
          </a:p>
          <a:p>
            <a:pPr marL="800100" lvl="1" indent="-342900">
              <a:buFont typeface="Arial" pitchFamily="34" charset="0"/>
              <a:buChar char="‒"/>
            </a:pP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Разработано 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Mitsui 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(те что создали 16 167 и прочее)</a:t>
            </a:r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  <a:latin typeface="Etelka Light" pitchFamily="50" charset="0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5292080" y="5373216"/>
            <a:ext cx="32403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2400" b="1" dirty="0" smtClean="0">
                <a:solidFill>
                  <a:srgbClr val="FFC000"/>
                </a:solidFill>
                <a:latin typeface="Etelka Light" pitchFamily="50" charset="0"/>
              </a:rPr>
              <a:t>4.1M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5652120" y="5467870"/>
            <a:ext cx="35283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/>
            <a:r>
              <a:rPr lang="ru-RU" sz="1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Шт</a:t>
            </a:r>
            <a:r>
              <a:rPr lang="ru-RU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 продано в АМЕРА в Июле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 </a:t>
            </a:r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</a:rPr>
              <a:t>2016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201466" y="260648"/>
            <a:ext cx="7610894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DRIVEN BY BLUV LENSES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236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416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6286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35" name="Titre 1"/>
          <p:cNvSpPr txBox="1">
            <a:spLocks/>
          </p:cNvSpPr>
          <p:nvPr/>
        </p:nvSpPr>
        <p:spPr>
          <a:xfrm>
            <a:off x="179512" y="1462823"/>
            <a:ext cx="8050766" cy="584775"/>
          </a:xfrm>
          <a:prstGeom prst="rect">
            <a:avLst/>
          </a:prstGeom>
          <a:noFill/>
          <a:ln w="3175">
            <a:noFill/>
          </a:ln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Etelka Light" pitchFamily="50" charset="0"/>
                <a:ea typeface="Calibri" charset="0"/>
              </a:rPr>
              <a:t>Что уже есть	</a:t>
            </a: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Etelka Light" pitchFamily="50" charset="0"/>
              <a:ea typeface="Calibri" charset="0"/>
            </a:endParaRPr>
          </a:p>
        </p:txBody>
      </p:sp>
      <p:sp>
        <p:nvSpPr>
          <p:cNvPr id="36" name="Espace réservé du contenu 2"/>
          <p:cNvSpPr txBox="1">
            <a:spLocks/>
          </p:cNvSpPr>
          <p:nvPr/>
        </p:nvSpPr>
        <p:spPr>
          <a:xfrm>
            <a:off x="179512" y="1988840"/>
            <a:ext cx="4608512" cy="2448272"/>
          </a:xfrm>
          <a:prstGeom prst="rect">
            <a:avLst/>
          </a:prstGeom>
        </p:spPr>
        <p:txBody>
          <a:bodyPr anchor="t">
            <a:noAutofit/>
          </a:bodyPr>
          <a:lstStyle/>
          <a:p>
            <a:pPr marL="120650" marR="0" lvl="0" indent="-120650" algn="l" defTabSz="914400" rtl="0" eaLnBrk="1" fontAlgn="base" latinLnBrk="0" hangingPunct="1">
              <a:lnSpc>
                <a:spcPct val="160000"/>
              </a:lnSpc>
              <a:spcBef>
                <a:spcPts val="0"/>
              </a:spcBef>
              <a:spcAft>
                <a:spcPts val="200"/>
              </a:spcAft>
              <a:buClr>
                <a:srgbClr val="009CC2"/>
              </a:buClr>
              <a:buSzTx/>
              <a:buFont typeface="Arial" pitchFamily="34" charset="0"/>
              <a:buChar char="‒"/>
              <a:tabLst/>
              <a:defRPr/>
            </a:pP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мало материалов по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блюкат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 в массе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Etelka Light" pitchFamily="50" charset="0"/>
              <a:ea typeface="ＭＳ Ｐゴシック" pitchFamily="-108" charset="-128"/>
            </a:endParaRPr>
          </a:p>
          <a:p>
            <a:pPr marL="120650" indent="-120650">
              <a:lnSpc>
                <a:spcPct val="160000"/>
              </a:lnSpc>
              <a:spcBef>
                <a:spcPts val="0"/>
              </a:spcBef>
              <a:spcAft>
                <a:spcPts val="200"/>
              </a:spcAft>
              <a:buClr>
                <a:srgbClr val="009CC2"/>
              </a:buClr>
              <a:buFont typeface="Arial" pitchFamily="34" charset="0"/>
              <a:buChar char="‒"/>
              <a:defRPr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rPr>
              <a:t>существующие названия на рынке только говорят про УФ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rPr>
              <a:t> 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rPr>
              <a:t>(e.g.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“UV420” / “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Perfect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Etelka Light" pitchFamily="50" charset="0"/>
                <a:ea typeface="ＭＳ Ｐゴシック" pitchFamily="-108" charset="-128"/>
              </a:rPr>
              <a:t>UV”)</a:t>
            </a:r>
          </a:p>
        </p:txBody>
      </p:sp>
      <p:grpSp>
        <p:nvGrpSpPr>
          <p:cNvPr id="5" name="Group 46"/>
          <p:cNvGrpSpPr/>
          <p:nvPr/>
        </p:nvGrpSpPr>
        <p:grpSpPr>
          <a:xfrm>
            <a:off x="5143162" y="3582144"/>
            <a:ext cx="4037350" cy="2066727"/>
            <a:chOff x="5055367" y="3018457"/>
            <a:chExt cx="4037350" cy="2066727"/>
          </a:xfrm>
        </p:grpSpPr>
        <p:sp>
          <p:nvSpPr>
            <p:cNvPr id="38" name="Titre 1"/>
            <p:cNvSpPr txBox="1">
              <a:spLocks/>
            </p:cNvSpPr>
            <p:nvPr/>
          </p:nvSpPr>
          <p:spPr bwMode="auto">
            <a:xfrm>
              <a:off x="5055367" y="3018457"/>
              <a:ext cx="4037349" cy="1143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ctr" defTabSz="342900" rtl="0" eaLnBrk="0" fontAlgn="base" hangingPunct="0">
                <a:spcBef>
                  <a:spcPct val="0"/>
                </a:spcBef>
                <a:spcAft>
                  <a:spcPct val="0"/>
                </a:spcAft>
                <a:defRPr sz="3000" kern="1200">
                  <a:ln w="3175" cmpd="sng">
                    <a:noFill/>
                  </a:ln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ctr" defTabSz="342900" rtl="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1"/>
                  </a:solidFill>
                  <a:latin typeface="Corbel" pitchFamily="34" charset="0"/>
                </a:defRPr>
              </a:lvl2pPr>
              <a:lvl3pPr algn="ctr" defTabSz="342900" rtl="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1"/>
                  </a:solidFill>
                  <a:latin typeface="Corbel" pitchFamily="34" charset="0"/>
                </a:defRPr>
              </a:lvl3pPr>
              <a:lvl4pPr algn="ctr" defTabSz="342900" rtl="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1"/>
                  </a:solidFill>
                  <a:latin typeface="Corbel" pitchFamily="34" charset="0"/>
                </a:defRPr>
              </a:lvl4pPr>
              <a:lvl5pPr algn="ctr" defTabSz="342900" rtl="0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1"/>
                  </a:solidFill>
                  <a:latin typeface="Corbel" pitchFamily="34" charset="0"/>
                </a:defRPr>
              </a:lvl5pPr>
              <a:lvl6pPr eaLnBrk="1" hangingPunct="1">
                <a:defRPr>
                  <a:solidFill>
                    <a:schemeClr val="tx2"/>
                  </a:solidFill>
                </a:defRPr>
              </a:lvl6pPr>
              <a:lvl7pPr eaLnBrk="1" hangingPunct="1">
                <a:defRPr>
                  <a:solidFill>
                    <a:schemeClr val="tx2"/>
                  </a:solidFill>
                </a:defRPr>
              </a:lvl7pPr>
              <a:lvl8pPr eaLnBrk="1" hangingPunct="1">
                <a:defRPr>
                  <a:solidFill>
                    <a:schemeClr val="tx2"/>
                  </a:solidFill>
                </a:defRPr>
              </a:lvl8pPr>
              <a:lvl9pPr eaLnBrk="1" hangingPunct="1">
                <a:defRPr>
                  <a:solidFill>
                    <a:schemeClr val="tx2"/>
                  </a:solidFill>
                </a:defRPr>
              </a:lvl9pPr>
            </a:lstStyle>
            <a:p>
              <a:pPr algn="l"/>
              <a:r>
                <a:rPr lang="ru-RU" sz="3200" b="1" dirty="0" smtClean="0">
                  <a:solidFill>
                    <a:srgbClr val="0070C0"/>
                  </a:solidFill>
                  <a:latin typeface="Etelka Light" pitchFamily="50" charset="0"/>
                  <a:ea typeface="Calibri" charset="0"/>
                  <a:cs typeface="Arial" panose="020B0604020202020204" pitchFamily="34" charset="0"/>
                </a:rPr>
                <a:t>Что даем мы</a:t>
              </a:r>
              <a:endParaRPr lang="fr-FR" sz="3200" b="1" dirty="0">
                <a:solidFill>
                  <a:srgbClr val="0070C0"/>
                </a:solidFill>
                <a:latin typeface="Etelka Light" pitchFamily="50" charset="0"/>
                <a:ea typeface="Calibri" charset="0"/>
                <a:cs typeface="Arial" panose="020B0604020202020204" pitchFamily="34" charset="0"/>
              </a:endParaRPr>
            </a:p>
          </p:txBody>
        </p:sp>
        <p:sp>
          <p:nvSpPr>
            <p:cNvPr id="46" name="Espace réservé du contenu 2"/>
            <p:cNvSpPr txBox="1">
              <a:spLocks/>
            </p:cNvSpPr>
            <p:nvPr/>
          </p:nvSpPr>
          <p:spPr>
            <a:xfrm>
              <a:off x="5055367" y="3789040"/>
              <a:ext cx="4037350" cy="1296144"/>
            </a:xfrm>
            <a:prstGeom prst="rect">
              <a:avLst/>
            </a:prstGeom>
          </p:spPr>
          <p:txBody>
            <a:bodyPr anchor="t">
              <a:noAutofit/>
            </a:bodyPr>
            <a:lstStyle/>
            <a:p>
              <a:pPr marL="120650" indent="-120650">
                <a:lnSpc>
                  <a:spcPct val="16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009CC2"/>
                </a:buClr>
                <a:buFont typeface="Arial" pitchFamily="34" charset="0"/>
                <a:buChar char="‒"/>
                <a:defRPr/>
              </a:pPr>
              <a:r>
                <a:rPr lang="en-US" sz="1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Etelka Light" pitchFamily="50" charset="0"/>
                  <a:ea typeface="ＭＳ Ｐゴシック" pitchFamily="-108" charset="-128"/>
                </a:rPr>
                <a:t> </a:t>
              </a:r>
              <a:r>
                <a:rPr lang="ru-RU" sz="1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Etelka Light" pitchFamily="50" charset="0"/>
                  <a:ea typeface="ＭＳ Ｐゴシック" pitchFamily="-108" charset="-128"/>
                </a:rPr>
                <a:t>Мода на </a:t>
              </a:r>
              <a:r>
                <a:rPr lang="ru-RU" sz="16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Etelka Light" pitchFamily="50" charset="0"/>
                  <a:ea typeface="ＭＳ Ｐゴシック" pitchFamily="-108" charset="-128"/>
                </a:rPr>
                <a:t>блюкат</a:t>
              </a:r>
              <a:endPara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endParaRPr>
            </a:p>
            <a:p>
              <a:pPr marL="120650" lvl="0" indent="-120650">
                <a:lnSpc>
                  <a:spcPct val="16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009CC2"/>
                </a:buClr>
                <a:buFont typeface="Arial" pitchFamily="34" charset="0"/>
                <a:buChar char="‒"/>
                <a:defRPr/>
              </a:pPr>
              <a:r>
                <a:rPr lang="ru-RU" sz="1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Etelka Light" pitchFamily="50" charset="0"/>
                  <a:ea typeface="ＭＳ Ｐゴシック" pitchFamily="-108" charset="-128"/>
                </a:rPr>
                <a:t> </a:t>
              </a:r>
              <a:r>
                <a:rPr lang="ru-RU" sz="16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Etelka Light" pitchFamily="50" charset="0"/>
                  <a:ea typeface="ＭＳ Ｐゴシック" pitchFamily="-108" charset="-128"/>
                </a:rPr>
                <a:t>Доступное ценовое решение</a:t>
              </a:r>
              <a:endPara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endParaRPr>
            </a:p>
            <a:p>
              <a:pPr marL="120650" marR="0" lvl="0" indent="-120650" defTabSz="914400" rtl="0" eaLnBrk="1" fontAlgn="base" latinLnBrk="0" hangingPunct="1">
                <a:lnSpc>
                  <a:spcPct val="16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009CC2"/>
                </a:buClr>
                <a:buSzTx/>
                <a:buFont typeface="Arial" pitchFamily="34" charset="0"/>
                <a:buChar char="‒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tx1">
                      <a:lumMod val="50000"/>
                      <a:lumOff val="50000"/>
                    </a:schemeClr>
                  </a:solidFill>
                  <a:effectLst/>
                  <a:uLnTx/>
                  <a:uFillTx/>
                  <a:latin typeface="Etelka Light" pitchFamily="50" charset="0"/>
                  <a:ea typeface="ＭＳ Ｐゴシック" pitchFamily="-108" charset="-128"/>
                </a:rPr>
                <a:t> Наличие рекламной поддержки и узнаваемого имени </a:t>
              </a:r>
              <a:endPara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ea typeface="ＭＳ Ｐゴシック" pitchFamily="-108" charset="-128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BLUV: </a:t>
            </a: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ключевые опасности и </a:t>
            </a: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возможности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grpSp>
        <p:nvGrpSpPr>
          <p:cNvPr id="21" name="Group 18"/>
          <p:cNvGrpSpPr>
            <a:grpSpLocks/>
          </p:cNvGrpSpPr>
          <p:nvPr/>
        </p:nvGrpSpPr>
        <p:grpSpPr bwMode="auto">
          <a:xfrm flipH="1">
            <a:off x="1907704" y="980728"/>
            <a:ext cx="3727646" cy="5400600"/>
            <a:chOff x="2928938" y="-4763"/>
            <a:chExt cx="5014912" cy="6862763"/>
          </a:xfrm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>
                <a:gd name="T0" fmla="*/ 0 w 670"/>
                <a:gd name="T1" fmla="*/ 2692400 h 1753"/>
                <a:gd name="T2" fmla="*/ 357188 w 670"/>
                <a:gd name="T3" fmla="*/ 2782888 h 1753"/>
                <a:gd name="T4" fmla="*/ 1063625 w 670"/>
                <a:gd name="T5" fmla="*/ 0 h 1753"/>
                <a:gd name="T6" fmla="*/ 682625 w 670"/>
                <a:gd name="T7" fmla="*/ 0 h 1753"/>
                <a:gd name="T8" fmla="*/ 0 w 670"/>
                <a:gd name="T9" fmla="*/ 2692400 h 17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3429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350" smtClean="0">
                <a:solidFill>
                  <a:prstClr val="black"/>
                </a:solidFill>
                <a:latin typeface="Etelka Light" pitchFamily="50" charset="0"/>
              </a:endParaRPr>
            </a:p>
          </p:txBody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1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4" name="Freeform 9"/>
            <p:cNvSpPr/>
            <p:nvPr/>
          </p:nvSpPr>
          <p:spPr bwMode="auto">
            <a:xfrm>
              <a:off x="2928938" y="2582863"/>
              <a:ext cx="2693987" cy="4275137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5" name="Freeform 10"/>
            <p:cNvSpPr/>
            <p:nvPr/>
          </p:nvSpPr>
          <p:spPr bwMode="auto">
            <a:xfrm>
              <a:off x="3371851" y="2692400"/>
              <a:ext cx="3332161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rgbClr val="143665"/>
            </a:solidFill>
            <a:ln>
              <a:noFill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6" name="Freeform 11"/>
            <p:cNvSpPr/>
            <p:nvPr/>
          </p:nvSpPr>
          <p:spPr bwMode="auto">
            <a:xfrm>
              <a:off x="3367088" y="2687638"/>
              <a:ext cx="4576762" cy="4170362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E5097"/>
            </a:solidFill>
            <a:ln>
              <a:noFill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4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/>
            <a:lstStyle/>
            <a:p>
              <a:endParaRPr lang="en-US">
                <a:latin typeface="Etelka Light" pitchFamily="50" charset="0"/>
              </a:endParaRPr>
            </a:p>
          </p:txBody>
        </p:sp>
      </p:grpSp>
      <p:sp>
        <p:nvSpPr>
          <p:cNvPr id="17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Content Placeholder 2"/>
          <p:cNvSpPr>
            <a:spLocks noGrp="1"/>
          </p:cNvSpPr>
          <p:nvPr>
            <p:ph idx="4294967295"/>
          </p:nvPr>
        </p:nvSpPr>
        <p:spPr>
          <a:xfrm>
            <a:off x="2987824" y="1793454"/>
            <a:ext cx="6156176" cy="166687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altLang="en-US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telka Light" pitchFamily="50" charset="0"/>
                <a:cs typeface="Arial" panose="020B0604020202020204" pitchFamily="34" charset="0"/>
              </a:rPr>
              <a:t>LENCOR BLUV - </a:t>
            </a:r>
            <a:r>
              <a:rPr lang="ru-RU" sz="2000" dirty="0" smtClean="0">
                <a:latin typeface="Etelka Light" pitchFamily="50" charset="0"/>
              </a:rPr>
              <a:t>это линзы, изготовленные из </a:t>
            </a:r>
            <a:r>
              <a:rPr lang="ru-RU" sz="2000" dirty="0" smtClean="0">
                <a:latin typeface="Etelka Light" pitchFamily="50" charset="0"/>
              </a:rPr>
              <a:t>инновационного японского материала, </a:t>
            </a:r>
            <a:r>
              <a:rPr lang="ru-RU" sz="2000" dirty="0" smtClean="0">
                <a:latin typeface="Etelka Light" pitchFamily="50" charset="0"/>
              </a:rPr>
              <a:t>который отфильтровывает вредный сине-фиолетовый свет высокой </a:t>
            </a:r>
            <a:r>
              <a:rPr lang="ru-RU" sz="2000" dirty="0" smtClean="0">
                <a:latin typeface="Etelka Light" pitchFamily="50" charset="0"/>
              </a:rPr>
              <a:t>энергии и защищает от </a:t>
            </a:r>
            <a:r>
              <a:rPr lang="ru-RU" sz="2000" dirty="0" err="1" smtClean="0">
                <a:latin typeface="Etelka Light" pitchFamily="50" charset="0"/>
              </a:rPr>
              <a:t>УФ-лучей</a:t>
            </a:r>
            <a:endParaRPr lang="en-US" altLang="en-US" sz="2000" i="1" dirty="0" smtClean="0">
              <a:solidFill>
                <a:srgbClr val="FFC000"/>
              </a:solidFill>
              <a:latin typeface="Etelka Light" pitchFamily="50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altLang="en-US" sz="2400" dirty="0" smtClean="0">
              <a:solidFill>
                <a:srgbClr val="0D0D0D"/>
              </a:solidFill>
              <a:latin typeface="Etelka Light" pitchFamily="50" charset="0"/>
              <a:cs typeface="Arial" panose="020B0604020202020204" pitchFamily="34" charset="0"/>
            </a:endParaRP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3" cstate="print"/>
          <a:srcRect l="4430" t="2150" r="71713" b="85503"/>
          <a:stretch>
            <a:fillRect/>
          </a:stretch>
        </p:blipFill>
        <p:spPr bwMode="auto">
          <a:xfrm>
            <a:off x="395536" y="1772816"/>
            <a:ext cx="2230437" cy="16319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Представляем </a:t>
            </a: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LENCOR BLUV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9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  <p:pic>
        <p:nvPicPr>
          <p:cNvPr id="315393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>
            <a:off x="971599" y="3933056"/>
            <a:ext cx="7129671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3105837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84904" y="1795237"/>
            <a:ext cx="6459793" cy="402433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32671" y="5697969"/>
            <a:ext cx="2047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Etelka Light" pitchFamily="50" charset="0"/>
                <a:ea typeface="Arial" charset="0"/>
                <a:cs typeface="Arial" charset="0"/>
              </a:rPr>
              <a:t>Длина волны, </a:t>
            </a:r>
            <a:r>
              <a:rPr lang="en-GB" dirty="0" smtClean="0">
                <a:latin typeface="Etelka Light" pitchFamily="50" charset="0"/>
                <a:ea typeface="Arial" charset="0"/>
                <a:cs typeface="Arial" charset="0"/>
              </a:rPr>
              <a:t>nm</a:t>
            </a:r>
            <a:endParaRPr lang="en-GB" dirty="0">
              <a:latin typeface="Etelka Light" pitchFamily="50" charset="0"/>
              <a:ea typeface="Arial" charset="0"/>
              <a:cs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 rot="16200000">
            <a:off x="-573225" y="3097338"/>
            <a:ext cx="24474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Etelka Light" pitchFamily="50" charset="0"/>
                <a:ea typeface="Arial" charset="0"/>
                <a:cs typeface="Arial" charset="0"/>
              </a:rPr>
              <a:t>Светопропускание </a:t>
            </a:r>
            <a:r>
              <a:rPr lang="en-GB" dirty="0" smtClean="0">
                <a:latin typeface="Etelka Light" pitchFamily="50" charset="0"/>
                <a:ea typeface="Arial" charset="0"/>
                <a:cs typeface="Arial" charset="0"/>
              </a:rPr>
              <a:t>%</a:t>
            </a:r>
            <a:endParaRPr lang="en-GB" dirty="0">
              <a:latin typeface="Etelka Light" pitchFamily="50" charset="0"/>
              <a:ea typeface="Arial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88026" y="1304299"/>
            <a:ext cx="4593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ea typeface="Arial" charset="0"/>
                <a:cs typeface="Arial" charset="0"/>
              </a:rPr>
              <a:t>Светопропускание линз 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Etelka Light" pitchFamily="50" charset="0"/>
                <a:ea typeface="Arial" charset="0"/>
                <a:cs typeface="Arial" charset="0"/>
              </a:rPr>
              <a:t>LENCOR </a:t>
            </a:r>
            <a:r>
              <a:rPr lang="en-US" b="1" dirty="0" smtClean="0">
                <a:solidFill>
                  <a:srgbClr val="0073BC"/>
                </a:solidFill>
                <a:latin typeface="Etelka Light" pitchFamily="50" charset="0"/>
                <a:ea typeface="Arial" charset="0"/>
                <a:cs typeface="Arial" charset="0"/>
              </a:rPr>
              <a:t>BL</a:t>
            </a:r>
            <a:r>
              <a:rPr lang="en-US" b="1" dirty="0" smtClean="0">
                <a:solidFill>
                  <a:srgbClr val="F58220"/>
                </a:solidFill>
                <a:latin typeface="Etelka Light" pitchFamily="50" charset="0"/>
                <a:ea typeface="Arial" charset="0"/>
                <a:cs typeface="Arial" charset="0"/>
              </a:rPr>
              <a:t>UV</a:t>
            </a:r>
            <a:r>
              <a:rPr lang="en-US" sz="1600" b="1" baseline="30000" dirty="0" smtClean="0">
                <a:solidFill>
                  <a:srgbClr val="7F7F7F"/>
                </a:solidFill>
                <a:latin typeface="Etelka Light" pitchFamily="50" charset="0"/>
                <a:ea typeface="Arial" charset="0"/>
                <a:cs typeface="Arial" charset="0"/>
              </a:rPr>
              <a:t>™</a:t>
            </a:r>
            <a:endParaRPr lang="en-GB" dirty="0">
              <a:latin typeface="Etelka Light" pitchFamily="50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90631" y="3870466"/>
            <a:ext cx="1481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latin typeface="Etelka Light" pitchFamily="50" charset="0"/>
              </a:rPr>
              <a:t>Обычная линза</a:t>
            </a:r>
            <a:endParaRPr lang="en-GB" sz="1400" dirty="0">
              <a:latin typeface="Etelka Light" pitchFamily="50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82906" y="3624245"/>
            <a:ext cx="65434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latin typeface="Etelka Light" pitchFamily="50" charset="0"/>
              </a:rPr>
              <a:t>BLUV</a:t>
            </a:r>
            <a:endParaRPr lang="en-GB" sz="1400" dirty="0">
              <a:latin typeface="Etelka Light" pitchFamily="50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7275" y="147292"/>
            <a:ext cx="8637048" cy="6894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Спектральная характеристика </a:t>
            </a:r>
            <a:endParaRPr lang="en-US" sz="2800" i="1" dirty="0" smtClean="0">
              <a:solidFill>
                <a:srgbClr val="FFFFFF"/>
              </a:solidFill>
              <a:latin typeface="Etelka Light" pitchFamily="50" charset="0"/>
              <a:cs typeface="Eurostile"/>
            </a:endParaRPr>
          </a:p>
          <a:p>
            <a:pPr>
              <a:lnSpc>
                <a:spcPct val="80000"/>
              </a:lnSpc>
            </a:pP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                                        LENCOR BLUV </a:t>
            </a:r>
            <a:endParaRPr lang="en-US" sz="2800" i="1" dirty="0" smtClean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9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71247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71402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1884" y="1058864"/>
            <a:ext cx="3488679" cy="4962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Content Placeholder 2"/>
          <p:cNvSpPr txBox="1">
            <a:spLocks/>
          </p:cNvSpPr>
          <p:nvPr/>
        </p:nvSpPr>
        <p:spPr>
          <a:xfrm>
            <a:off x="4067943" y="1690389"/>
            <a:ext cx="4796379" cy="4906963"/>
          </a:xfrm>
          <a:prstGeom prst="rect">
            <a:avLst/>
          </a:prstGeom>
        </p:spPr>
        <p:txBody>
          <a:bodyPr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Etelka Light" pitchFamily="50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ru-RU" sz="1600" kern="0" dirty="0" smtClean="0">
                <a:latin typeface="Etelka Light" pitchFamily="50" charset="0"/>
              </a:rPr>
              <a:t>Простая коммуникация : защита от синего света и </a:t>
            </a:r>
            <a:r>
              <a:rPr lang="ru-RU" sz="1600" kern="0" dirty="0" err="1" smtClean="0">
                <a:latin typeface="Etelka Light" pitchFamily="50" charset="0"/>
              </a:rPr>
              <a:t>УФ-лучей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Etelka Light" pitchFamily="50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Etelka Light" pitchFamily="50" charset="0"/>
              </a:rPr>
              <a:t>Внешняя эстетика по сравнению</a:t>
            </a: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Etelka Light" pitchFamily="50" charset="0"/>
              </a:rPr>
              <a:t> с традиционными решениями: нет синего оттенка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ru-RU" sz="1600" kern="0" dirty="0" smtClean="0">
                <a:latin typeface="Etelka Light" pitchFamily="50" charset="0"/>
              </a:rPr>
              <a:t>Широкий ряд  (склад и рецептура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Etelka Light" pitchFamily="50" charset="0"/>
              </a:rPr>
              <a:t>Отсутствуют ограничения в выборе оправы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ru-RU" sz="1600" kern="0" dirty="0" smtClean="0">
                <a:latin typeface="Etelka Light" pitchFamily="50" charset="0"/>
              </a:rPr>
              <a:t>Высочайшее качество (японский </a:t>
            </a:r>
            <a:r>
              <a:rPr lang="ru-RU" sz="1600" kern="0" dirty="0" err="1" smtClean="0">
                <a:latin typeface="Etelka Light" pitchFamily="50" charset="0"/>
              </a:rPr>
              <a:t>произ-ль</a:t>
            </a:r>
            <a:r>
              <a:rPr lang="ru-RU" sz="1600" kern="0" dirty="0" smtClean="0">
                <a:latin typeface="Etelka Light" pitchFamily="50" charset="0"/>
              </a:rPr>
              <a:t>)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6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Etelka Light" pitchFamily="50" charset="0"/>
              </a:rPr>
              <a:t>Наличие рекламы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en-US" sz="1600" b="0" i="0" u="none" strike="noStrike" kern="0" cap="none" spc="0" normalizeH="0" noProof="0" dirty="0" smtClean="0">
              <a:ln>
                <a:noFill/>
              </a:ln>
              <a:effectLst/>
              <a:uLnTx/>
              <a:uFillTx/>
              <a:latin typeface="Etelka Light" pitchFamily="50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7275" y="281785"/>
            <a:ext cx="8637048" cy="345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Преимущества линз </a:t>
            </a:r>
            <a:r>
              <a:rPr lang="en-US" sz="2800" i="1" dirty="0" smtClean="0">
                <a:solidFill>
                  <a:srgbClr val="FFFFFF"/>
                </a:solidFill>
                <a:latin typeface="Etelka Light" pitchFamily="50" charset="0"/>
                <a:cs typeface="Eurostile"/>
              </a:rPr>
              <a:t>LENCOR BLUV</a:t>
            </a:r>
            <a:endParaRPr lang="en-US" sz="2800" i="1" dirty="0">
              <a:solidFill>
                <a:srgbClr val="FFFFFF"/>
              </a:solidFill>
              <a:latin typeface="Etelka Light" pitchFamily="50" charset="0"/>
              <a:cs typeface="Eurostile"/>
            </a:endParaRPr>
          </a:p>
        </p:txBody>
      </p:sp>
      <p:sp>
        <p:nvSpPr>
          <p:cNvPr id="9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Etelka Light" pitchFamily="50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Etelka Light" pitchFamily="50" charset="0"/>
            </a:endParaRPr>
          </a:p>
        </p:txBody>
      </p:sp>
      <p:pic>
        <p:nvPicPr>
          <p:cNvPr id="271403" name="Picture 4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10800000">
            <a:off x="327095" y="5229200"/>
            <a:ext cx="3452816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711552" y="961677"/>
            <a:ext cx="1253308" cy="5231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77546" name="think-cell Slide" r:id="rId4" imgW="270" imgH="27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>
              <a:sym typeface="+mn-lt"/>
            </a:endParaRPr>
          </a:p>
        </p:txBody>
      </p:sp>
      <p:sp>
        <p:nvSpPr>
          <p:cNvPr id="9" name="ZoneTexte 13"/>
          <p:cNvSpPr txBox="1"/>
          <p:nvPr/>
        </p:nvSpPr>
        <p:spPr>
          <a:xfrm>
            <a:off x="6874222" y="1052736"/>
            <a:ext cx="15776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</a:rPr>
              <a:t>POS materials</a:t>
            </a:r>
            <a:endParaRPr lang="en-US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ZoneTexte 5"/>
          <p:cNvSpPr txBox="1"/>
          <p:nvPr/>
        </p:nvSpPr>
        <p:spPr>
          <a:xfrm>
            <a:off x="6473008" y="1373466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Door Hanger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30092" y="3510622"/>
            <a:ext cx="1125970" cy="1526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ZoneTexte 5"/>
          <p:cNvSpPr txBox="1"/>
          <p:nvPr/>
        </p:nvSpPr>
        <p:spPr>
          <a:xfrm>
            <a:off x="5464896" y="3225811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Wobbler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6" name="ZoneTexte 5"/>
          <p:cNvSpPr txBox="1"/>
          <p:nvPr/>
        </p:nvSpPr>
        <p:spPr>
          <a:xfrm>
            <a:off x="5292080" y="5209455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Demo Tool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7" name="ZoneTexte 13"/>
          <p:cNvSpPr txBox="1"/>
          <p:nvPr/>
        </p:nvSpPr>
        <p:spPr>
          <a:xfrm>
            <a:off x="1568224" y="908720"/>
            <a:ext cx="652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</a:rPr>
              <a:t>Print</a:t>
            </a:r>
            <a:endParaRPr lang="en-US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1" name="ZoneTexte 5"/>
          <p:cNvSpPr txBox="1"/>
          <p:nvPr/>
        </p:nvSpPr>
        <p:spPr>
          <a:xfrm>
            <a:off x="-2057" y="3953524"/>
            <a:ext cx="33499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B2C Leaflet / B2B </a:t>
            </a:r>
            <a:r>
              <a:rPr lang="en-US" sz="1400" dirty="0" err="1" smtClean="0">
                <a:solidFill>
                  <a:schemeClr val="tx2">
                    <a:lumMod val="75000"/>
                  </a:schemeClr>
                </a:solidFill>
              </a:rPr>
              <a:t>Pdt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 Manual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ZoneTexte 5"/>
          <p:cNvSpPr txBox="1"/>
          <p:nvPr/>
        </p:nvSpPr>
        <p:spPr>
          <a:xfrm>
            <a:off x="-721057" y="1164127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Posters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5" name="ZoneTexte 13"/>
          <p:cNvSpPr txBox="1"/>
          <p:nvPr/>
        </p:nvSpPr>
        <p:spPr>
          <a:xfrm>
            <a:off x="4091037" y="1375657"/>
            <a:ext cx="1208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</a:rPr>
              <a:t>Packaging</a:t>
            </a:r>
            <a:endParaRPr lang="en-US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6" name="ZoneTexte 5"/>
          <p:cNvSpPr txBox="1"/>
          <p:nvPr/>
        </p:nvSpPr>
        <p:spPr>
          <a:xfrm>
            <a:off x="3434964" y="1721411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Lens Envelope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ZoneTexte 5"/>
          <p:cNvSpPr txBox="1"/>
          <p:nvPr/>
        </p:nvSpPr>
        <p:spPr>
          <a:xfrm>
            <a:off x="3423591" y="3934622"/>
            <a:ext cx="24194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Lens Box (SF)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1" name="ZoneTexte 5"/>
          <p:cNvSpPr txBox="1"/>
          <p:nvPr/>
        </p:nvSpPr>
        <p:spPr>
          <a:xfrm>
            <a:off x="7577943" y="3265143"/>
            <a:ext cx="14648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</a:rPr>
              <a:t>Pull Up Banner</a:t>
            </a:r>
            <a:endParaRPr lang="fr-FR" sz="1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5875084" y="1687137"/>
            <a:ext cx="3089776" cy="1453831"/>
            <a:chOff x="5875084" y="1687137"/>
            <a:chExt cx="3963511" cy="1774647"/>
          </a:xfrm>
        </p:grpSpPr>
        <p:pic>
          <p:nvPicPr>
            <p:cNvPr id="33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875084" y="1687137"/>
              <a:ext cx="1970938" cy="1774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34" name="Picture 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990486" y="1722511"/>
              <a:ext cx="1848109" cy="16760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48064" y="5589240"/>
            <a:ext cx="1271740" cy="71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565962" y="5441493"/>
            <a:ext cx="1074192" cy="946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07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1520" y="4293096"/>
            <a:ext cx="1913031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7508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9552" y="5373216"/>
            <a:ext cx="1914619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7509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884368" y="3573016"/>
            <a:ext cx="1008112" cy="274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10" name="Picture 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419872" y="2060848"/>
            <a:ext cx="2376264" cy="154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12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987824" y="4266145"/>
            <a:ext cx="2232248" cy="1611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13" name="Picture 9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524328" y="1988840"/>
            <a:ext cx="1541816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14" name="Picture 10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812870" y="1988840"/>
            <a:ext cx="1639450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7515" name="Picture 11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07504" y="1484784"/>
            <a:ext cx="1345320" cy="19029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7516" name="Picture 1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547664" y="1196752"/>
            <a:ext cx="914905" cy="12961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7517" name="Picture 13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547665" y="2564904"/>
            <a:ext cx="936104" cy="1321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5" name="TextBox 34"/>
          <p:cNvSpPr txBox="1"/>
          <p:nvPr/>
        </p:nvSpPr>
        <p:spPr>
          <a:xfrm>
            <a:off x="227275" y="281785"/>
            <a:ext cx="8637048" cy="3447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i="1" dirty="0" smtClean="0">
                <a:solidFill>
                  <a:srgbClr val="FFFFFF"/>
                </a:solidFill>
                <a:latin typeface="Eurostile"/>
                <a:cs typeface="Eurostile"/>
              </a:rPr>
              <a:t>Рекламные материалы </a:t>
            </a:r>
            <a:r>
              <a:rPr lang="en-US" sz="2800" i="1" dirty="0" smtClean="0">
                <a:solidFill>
                  <a:srgbClr val="FFFFFF"/>
                </a:solidFill>
                <a:latin typeface="Eurostile"/>
                <a:cs typeface="Eurostile"/>
              </a:rPr>
              <a:t>LENCOR BLUV (TBC) </a:t>
            </a:r>
            <a:endParaRPr lang="en-US" sz="2800" i="1" dirty="0">
              <a:solidFill>
                <a:srgbClr val="FFFFFF"/>
              </a:solidFill>
              <a:latin typeface="Eurostile"/>
              <a:cs typeface="Eurostile"/>
            </a:endParaRPr>
          </a:p>
        </p:txBody>
      </p:sp>
      <p:sp>
        <p:nvSpPr>
          <p:cNvPr id="36" name="Footer Placeholder 4"/>
          <p:cNvSpPr txBox="1">
            <a:spLocks/>
          </p:cNvSpPr>
          <p:nvPr/>
        </p:nvSpPr>
        <p:spPr>
          <a:xfrm>
            <a:off x="2462433" y="6312808"/>
            <a:ext cx="4483100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898989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CONFIDENTIAL © ESSILOR 2016 – All rights reserv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o not disclose, copy or distribut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/%#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8&quot;&gt;&lt;elem m_fUsage=&quot;3.05253304266085830000E+000&quot;&gt;&lt;m_msothmcolidx val=&quot;0&quot;/&gt;&lt;m_rgb r=&quot;0&quot; g=&quot;92&quot; b=&quot;d2&quot;/&gt;&lt;m_ppcolschidx tagver0=&quot;23004&quot; tagname0=&quot;m_ppcolschidxUNRECOGNIZED&quot; val=&quot;0&quot;/&gt;&lt;m_nBrightness val=&quot;0&quot;/&gt;&lt;/elem&gt;&lt;elem m_fUsage=&quot;2.80471711705206190000E+000&quot;&gt;&lt;m_msothmcolidx val=&quot;0&quot;/&gt;&lt;m_rgb r=&quot;31&quot; g=&quot;27&quot; b=&quot;de&quot;/&gt;&lt;m_ppcolschidx tagver0=&quot;23004&quot; tagname0=&quot;m_ppcolschidxUNRECOGNIZED&quot; val=&quot;0&quot;/&gt;&lt;m_nBrightness val=&quot;0&quot;/&gt;&lt;/elem&gt;&lt;elem m_fUsage=&quot;1.73003871191903170000E+000&quot;&gt;&lt;m_msothmcolidx val=&quot;0&quot;/&gt;&lt;m_rgb r=&quot;6c&quot; g=&quot;d3&quot; b=&quot;ff&quot;/&gt;&lt;m_ppcolschidx tagver0=&quot;23004&quot; tagname0=&quot;m_ppcolschidxUNRECOGNIZED&quot; val=&quot;0&quot;/&gt;&lt;m_nBrightness val=&quot;0&quot;/&gt;&lt;/elem&gt;&lt;elem m_fUsage=&quot;1.24939488644915820000E+000&quot;&gt;&lt;m_msothmcolidx val=&quot;0&quot;/&gt;&lt;m_rgb r=&quot;80&quot; g=&quot;0&quot; b=&quot;80&quot;/&gt;&lt;m_ppcolschidx tagver0=&quot;23004&quot; tagname0=&quot;m_ppcolschidxUNRECOGNIZED&quot; val=&quot;0&quot;/&gt;&lt;m_nBrightness val=&quot;0&quot;/&gt;&lt;/elem&gt;&lt;elem m_fUsage=&quot;7.50963434907093270000E-001&quot;&gt;&lt;m_msothmcolidx val=&quot;0&quot;/&gt;&lt;m_rgb r=&quot;e4&quot; g=&quot;6c&quot; b=&quot;a&quot;/&gt;&lt;m_ppcolschidx tagver0=&quot;23004&quot; tagname0=&quot;m_ppcolschidxUNRECOGNIZED&quot; val=&quot;0&quot;/&gt;&lt;m_nBrightness val=&quot;0&quot;/&gt;&lt;/elem&gt;&lt;elem m_fUsage=&quot;3.68267364947931390000E-001&quot;&gt;&lt;m_msothmcolidx val=&quot;0&quot;/&gt;&lt;m_rgb r=&quot;f7&quot; g=&quot;c1&quot; b=&quot;73&quot;/&gt;&lt;m_ppcolschidx tagver0=&quot;23004&quot; tagname0=&quot;m_ppcolschidxUNRECOGNIZED&quot; val=&quot;0&quot;/&gt;&lt;m_nBrightness val=&quot;0&quot;/&gt;&lt;/elem&gt;&lt;elem m_fUsage=&quot;4.33998459314543020000E-002&quot;&gt;&lt;m_msothmcolidx val=&quot;0&quot;/&gt;&lt;m_rgb r=&quot;fe&quot; g=&quot;f8&quot; b=&quot;10&quot;/&gt;&lt;m_ppcolschidx tagver0=&quot;23004&quot; tagname0=&quot;m_ppcolschidxUNRECOGNIZED&quot; val=&quot;0&quot;/&gt;&lt;m_nBrightness val=&quot;0&quot;/&gt;&lt;/elem&gt;&lt;elem m_fUsage=&quot;6.85596132412799050000E-005&quot;&gt;&lt;m_msothmcolidx val=&quot;0&quot;/&gt;&lt;m_rgb r=&quot;fe&quot; g=&quot;fc&quot; b=&quot;98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1qCOeFN0qPX1K64q7t1g"/>
</p:tagLst>
</file>

<file path=ppt/theme/theme1.xml><?xml version="1.0" encoding="utf-8"?>
<a:theme xmlns:a="http://schemas.openxmlformats.org/drawingml/2006/main" name="1_Theme new never use in blakc font">
  <a:themeElements>
    <a:clrScheme name="Custom 2">
      <a:dk1>
        <a:sysClr val="windowText" lastClr="000000"/>
      </a:dk1>
      <a:lt1>
        <a:sysClr val="window" lastClr="FFFFFF"/>
      </a:lt1>
      <a:dk2>
        <a:srgbClr val="017CC2"/>
      </a:dk2>
      <a:lt2>
        <a:srgbClr val="EEECE1"/>
      </a:lt2>
      <a:accent1>
        <a:srgbClr val="4F545A"/>
      </a:accent1>
      <a:accent2>
        <a:srgbClr val="C0504D"/>
      </a:accent2>
      <a:accent3>
        <a:srgbClr val="92D050"/>
      </a:accent3>
      <a:accent4>
        <a:srgbClr val="800080"/>
      </a:accent4>
      <a:accent5>
        <a:srgbClr val="00B0F0"/>
      </a:accent5>
      <a:accent6>
        <a:srgbClr val="E46C0A"/>
      </a:accent6>
      <a:hlink>
        <a:srgbClr val="009CC2"/>
      </a:hlink>
      <a:folHlink>
        <a:srgbClr val="80C68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new never use in blakc font</Template>
  <TotalTime>29873</TotalTime>
  <Words>742</Words>
  <Application>Microsoft Office PowerPoint</Application>
  <PresentationFormat>Экран (4:3)</PresentationFormat>
  <Paragraphs>130</Paragraphs>
  <Slides>12</Slides>
  <Notes>4</Notes>
  <HiddenSlides>2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5" baseType="lpstr">
      <vt:lpstr>1_Theme new never use in blakc font</vt:lpstr>
      <vt:lpstr>Office Them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Company>ESSILO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EAN PRESENTATION</dc:title>
  <dc:creator>micatty.bercessio</dc:creator>
  <cp:lastModifiedBy>Acer</cp:lastModifiedBy>
  <cp:revision>1918</cp:revision>
  <cp:lastPrinted>2016-08-17T02:07:49Z</cp:lastPrinted>
  <dcterms:created xsi:type="dcterms:W3CDTF">2014-10-14T03:54:33Z</dcterms:created>
  <dcterms:modified xsi:type="dcterms:W3CDTF">2017-07-18T12:24:58Z</dcterms:modified>
</cp:coreProperties>
</file>